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8" r:id="rId4"/>
  </p:sldMasterIdLst>
  <p:notesMasterIdLst>
    <p:notesMasterId r:id="rId19"/>
  </p:notesMasterIdLst>
  <p:handoutMasterIdLst>
    <p:handoutMasterId r:id="rId20"/>
  </p:handoutMasterIdLst>
  <p:sldIdLst>
    <p:sldId id="2147374594" r:id="rId5"/>
    <p:sldId id="2146848177" r:id="rId6"/>
    <p:sldId id="2146848186" r:id="rId7"/>
    <p:sldId id="2146848180" r:id="rId8"/>
    <p:sldId id="2146848187" r:id="rId9"/>
    <p:sldId id="2146848178" r:id="rId10"/>
    <p:sldId id="2146848179" r:id="rId11"/>
    <p:sldId id="2146848184" r:id="rId12"/>
    <p:sldId id="2146848185" r:id="rId13"/>
    <p:sldId id="2146848181" r:id="rId14"/>
    <p:sldId id="2146848182" r:id="rId15"/>
    <p:sldId id="2146848183" r:id="rId16"/>
    <p:sldId id="2146848176" r:id="rId17"/>
    <p:sldId id="2146848174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5" orient="horz" pos="864" userDrawn="1">
          <p15:clr>
            <a:srgbClr val="A4A3A4"/>
          </p15:clr>
        </p15:guide>
        <p15:guide id="16" orient="horz" pos="3456" userDrawn="1">
          <p15:clr>
            <a:srgbClr val="A4A3A4"/>
          </p15:clr>
        </p15:guide>
        <p15:guide id="17" orient="horz" pos="2736" userDrawn="1">
          <p15:clr>
            <a:srgbClr val="A4A3A4"/>
          </p15:clr>
        </p15:guide>
        <p15:guide id="18" orient="horz" pos="1584" userDrawn="1">
          <p15:clr>
            <a:srgbClr val="A4A3A4"/>
          </p15:clr>
        </p15:guide>
        <p15:guide id="19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7821"/>
    <a:srgbClr val="421C5E"/>
    <a:srgbClr val="FDC9A5"/>
    <a:srgbClr val="B2E62E"/>
    <a:srgbClr val="6AB244"/>
    <a:srgbClr val="8FC8C6"/>
    <a:srgbClr val="1265E5"/>
    <a:srgbClr val="FEC9A5"/>
    <a:srgbClr val="F55E3F"/>
    <a:srgbClr val="FEC2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E3AE39D-6BA2-4243-9DFD-531CF93C0398}" v="2" dt="2021-05-06T14:48:47.056"/>
    <p1510:client id="{83488A58-C5B7-4047-B1FD-4F860F6170BF}" v="16" dt="2021-05-05T16:49:58.754"/>
    <p1510:client id="{ECC90D6C-9D44-491A-97A9-33040D60CB6E}" v="25" dt="2021-05-05T22:28:19.95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788" y="56"/>
      </p:cViewPr>
      <p:guideLst>
        <p:guide orient="horz" pos="864"/>
        <p:guide orient="horz" pos="3456"/>
        <p:guide orient="horz" pos="2736"/>
        <p:guide orient="horz" pos="15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dams, Amber" userId="a8dbc730-ed87-4f1d-884a-4dc0b7e9acba" providerId="ADAL" clId="{83488A58-C5B7-4047-B1FD-4F860F6170BF}"/>
    <pc:docChg chg="undo addSld modSld">
      <pc:chgData name="Adams, Amber" userId="a8dbc730-ed87-4f1d-884a-4dc0b7e9acba" providerId="ADAL" clId="{83488A58-C5B7-4047-B1FD-4F860F6170BF}" dt="2021-05-05T16:32:06.779" v="54"/>
      <pc:docMkLst>
        <pc:docMk/>
      </pc:docMkLst>
      <pc:sldChg chg="modNotesTx">
        <pc:chgData name="Adams, Amber" userId="a8dbc730-ed87-4f1d-884a-4dc0b7e9acba" providerId="ADAL" clId="{83488A58-C5B7-4047-B1FD-4F860F6170BF}" dt="2021-05-05T16:24:27.206" v="52" actId="6549"/>
        <pc:sldMkLst>
          <pc:docMk/>
          <pc:sldMk cId="160895341" sldId="391"/>
        </pc:sldMkLst>
      </pc:sldChg>
      <pc:sldChg chg="modNotesTx">
        <pc:chgData name="Adams, Amber" userId="a8dbc730-ed87-4f1d-884a-4dc0b7e9acba" providerId="ADAL" clId="{83488A58-C5B7-4047-B1FD-4F860F6170BF}" dt="2021-05-05T16:09:18.700" v="42" actId="20577"/>
        <pc:sldMkLst>
          <pc:docMk/>
          <pc:sldMk cId="302767375" sldId="2134806153"/>
        </pc:sldMkLst>
      </pc:sldChg>
      <pc:sldChg chg="modNotesTx">
        <pc:chgData name="Adams, Amber" userId="a8dbc730-ed87-4f1d-884a-4dc0b7e9acba" providerId="ADAL" clId="{83488A58-C5B7-4047-B1FD-4F860F6170BF}" dt="2021-05-05T16:05:53.156" v="7" actId="20577"/>
        <pc:sldMkLst>
          <pc:docMk/>
          <pc:sldMk cId="2898597529" sldId="2134806154"/>
        </pc:sldMkLst>
      </pc:sldChg>
      <pc:sldChg chg="modNotesTx">
        <pc:chgData name="Adams, Amber" userId="a8dbc730-ed87-4f1d-884a-4dc0b7e9acba" providerId="ADAL" clId="{83488A58-C5B7-4047-B1FD-4F860F6170BF}" dt="2021-05-05T16:06:26.140" v="16" actId="20577"/>
        <pc:sldMkLst>
          <pc:docMk/>
          <pc:sldMk cId="1546897734" sldId="2146848153"/>
        </pc:sldMkLst>
      </pc:sldChg>
      <pc:sldChg chg="modNotesTx">
        <pc:chgData name="Adams, Amber" userId="a8dbc730-ed87-4f1d-884a-4dc0b7e9acba" providerId="ADAL" clId="{83488A58-C5B7-4047-B1FD-4F860F6170BF}" dt="2021-05-05T16:07:04.282" v="19" actId="20577"/>
        <pc:sldMkLst>
          <pc:docMk/>
          <pc:sldMk cId="94201224" sldId="2146848154"/>
        </pc:sldMkLst>
      </pc:sldChg>
      <pc:sldChg chg="modNotesTx">
        <pc:chgData name="Adams, Amber" userId="a8dbc730-ed87-4f1d-884a-4dc0b7e9acba" providerId="ADAL" clId="{83488A58-C5B7-4047-B1FD-4F860F6170BF}" dt="2021-05-05T16:08:47.371" v="37" actId="20577"/>
        <pc:sldMkLst>
          <pc:docMk/>
          <pc:sldMk cId="3540370793" sldId="2146848155"/>
        </pc:sldMkLst>
      </pc:sldChg>
      <pc:sldChg chg="modNotesTx">
        <pc:chgData name="Adams, Amber" userId="a8dbc730-ed87-4f1d-884a-4dc0b7e9acba" providerId="ADAL" clId="{83488A58-C5B7-4047-B1FD-4F860F6170BF}" dt="2021-05-05T16:08:12.741" v="28" actId="20577"/>
        <pc:sldMkLst>
          <pc:docMk/>
          <pc:sldMk cId="3056058551" sldId="2146848171"/>
        </pc:sldMkLst>
      </pc:sldChg>
      <pc:sldChg chg="modNotesTx">
        <pc:chgData name="Adams, Amber" userId="a8dbc730-ed87-4f1d-884a-4dc0b7e9acba" providerId="ADAL" clId="{83488A58-C5B7-4047-B1FD-4F860F6170BF}" dt="2021-05-05T16:07:42.852" v="26" actId="20577"/>
        <pc:sldMkLst>
          <pc:docMk/>
          <pc:sldMk cId="4221827293" sldId="2146848173"/>
        </pc:sldMkLst>
      </pc:sldChg>
      <pc:sldChg chg="modNotesTx">
        <pc:chgData name="Adams, Amber" userId="a8dbc730-ed87-4f1d-884a-4dc0b7e9acba" providerId="ADAL" clId="{83488A58-C5B7-4047-B1FD-4F860F6170BF}" dt="2021-05-05T16:26:46.851" v="53" actId="6549"/>
        <pc:sldMkLst>
          <pc:docMk/>
          <pc:sldMk cId="2899593226" sldId="2146848176"/>
        </pc:sldMkLst>
      </pc:sldChg>
      <pc:sldChg chg="add">
        <pc:chgData name="Adams, Amber" userId="a8dbc730-ed87-4f1d-884a-4dc0b7e9acba" providerId="ADAL" clId="{83488A58-C5B7-4047-B1FD-4F860F6170BF}" dt="2021-05-05T16:32:06.779" v="54"/>
        <pc:sldMkLst>
          <pc:docMk/>
          <pc:sldMk cId="1018457866" sldId="2146848177"/>
        </pc:sldMkLst>
      </pc:sldChg>
    </pc:docChg>
  </pc:docChgLst>
  <pc:docChgLst>
    <pc:chgData name="Marshall, Allison" userId="8b75a215-c76d-4718-b6fa-cbdb1a79cb5c" providerId="ADAL" clId="{0568F6B1-4F3E-44FD-92EA-E0CC66207275}"/>
    <pc:docChg chg="undo custSel addSld delSld modSld delMainMaster">
      <pc:chgData name="Marshall, Allison" userId="8b75a215-c76d-4718-b6fa-cbdb1a79cb5c" providerId="ADAL" clId="{0568F6B1-4F3E-44FD-92EA-E0CC66207275}" dt="2021-05-04T16:26:02.905" v="122" actId="1036"/>
      <pc:docMkLst>
        <pc:docMk/>
      </pc:docMkLst>
      <pc:sldChg chg="modSp modNotesTx">
        <pc:chgData name="Marshall, Allison" userId="8b75a215-c76d-4718-b6fa-cbdb1a79cb5c" providerId="ADAL" clId="{0568F6B1-4F3E-44FD-92EA-E0CC66207275}" dt="2021-05-04T15:39:37.171" v="11" actId="20577"/>
        <pc:sldMkLst>
          <pc:docMk/>
          <pc:sldMk cId="160895341" sldId="391"/>
        </pc:sldMkLst>
        <pc:spChg chg="mod">
          <ac:chgData name="Marshall, Allison" userId="8b75a215-c76d-4718-b6fa-cbdb1a79cb5c" providerId="ADAL" clId="{0568F6B1-4F3E-44FD-92EA-E0CC66207275}" dt="2021-05-04T15:36:23.294" v="2" actId="20577"/>
          <ac:spMkLst>
            <pc:docMk/>
            <pc:sldMk cId="160895341" sldId="391"/>
            <ac:spMk id="5" creationId="{4D960B30-8A94-8F4B-863B-84C30FBF4914}"/>
          </ac:spMkLst>
        </pc:spChg>
      </pc:sldChg>
      <pc:sldChg chg="modSp">
        <pc:chgData name="Marshall, Allison" userId="8b75a215-c76d-4718-b6fa-cbdb1a79cb5c" providerId="ADAL" clId="{0568F6B1-4F3E-44FD-92EA-E0CC66207275}" dt="2021-05-04T16:26:02.905" v="122" actId="1036"/>
        <pc:sldMkLst>
          <pc:docMk/>
          <pc:sldMk cId="2701670749" sldId="21663"/>
        </pc:sldMkLst>
        <pc:spChg chg="mod">
          <ac:chgData name="Marshall, Allison" userId="8b75a215-c76d-4718-b6fa-cbdb1a79cb5c" providerId="ADAL" clId="{0568F6B1-4F3E-44FD-92EA-E0CC66207275}" dt="2021-05-04T16:20:57.271" v="64" actId="255"/>
          <ac:spMkLst>
            <pc:docMk/>
            <pc:sldMk cId="2701670749" sldId="21663"/>
            <ac:spMk id="10" creationId="{71454566-45ED-3745-880D-461351A58B66}"/>
          </ac:spMkLst>
        </pc:spChg>
        <pc:spChg chg="mod">
          <ac:chgData name="Marshall, Allison" userId="8b75a215-c76d-4718-b6fa-cbdb1a79cb5c" providerId="ADAL" clId="{0568F6B1-4F3E-44FD-92EA-E0CC66207275}" dt="2021-05-04T16:25:58.960" v="120" actId="1036"/>
          <ac:spMkLst>
            <pc:docMk/>
            <pc:sldMk cId="2701670749" sldId="21663"/>
            <ac:spMk id="14" creationId="{B2F601D5-B04A-6A44-B5CD-0EDADA5462AC}"/>
          </ac:spMkLst>
        </pc:spChg>
        <pc:spChg chg="mod">
          <ac:chgData name="Marshall, Allison" userId="8b75a215-c76d-4718-b6fa-cbdb1a79cb5c" providerId="ADAL" clId="{0568F6B1-4F3E-44FD-92EA-E0CC66207275}" dt="2021-05-04T16:26:02.905" v="122" actId="1036"/>
          <ac:spMkLst>
            <pc:docMk/>
            <pc:sldMk cId="2701670749" sldId="21663"/>
            <ac:spMk id="22" creationId="{2FCAE486-1D44-FB4E-B77B-9BC522692922}"/>
          </ac:spMkLst>
        </pc:spChg>
      </pc:sldChg>
      <pc:sldChg chg="modSp">
        <pc:chgData name="Marshall, Allison" userId="8b75a215-c76d-4718-b6fa-cbdb1a79cb5c" providerId="ADAL" clId="{0568F6B1-4F3E-44FD-92EA-E0CC66207275}" dt="2021-05-04T15:42:33.103" v="20" actId="20577"/>
        <pc:sldMkLst>
          <pc:docMk/>
          <pc:sldMk cId="94201224" sldId="2146848154"/>
        </pc:sldMkLst>
        <pc:spChg chg="mod">
          <ac:chgData name="Marshall, Allison" userId="8b75a215-c76d-4718-b6fa-cbdb1a79cb5c" providerId="ADAL" clId="{0568F6B1-4F3E-44FD-92EA-E0CC66207275}" dt="2021-05-04T15:42:33.103" v="20" actId="20577"/>
          <ac:spMkLst>
            <pc:docMk/>
            <pc:sldMk cId="94201224" sldId="2146848154"/>
            <ac:spMk id="4" creationId="{9A2CC569-E875-F94B-8298-448254CFDA48}"/>
          </ac:spMkLst>
        </pc:spChg>
      </pc:sldChg>
      <pc:sldChg chg="modSp">
        <pc:chgData name="Marshall, Allison" userId="8b75a215-c76d-4718-b6fa-cbdb1a79cb5c" providerId="ADAL" clId="{0568F6B1-4F3E-44FD-92EA-E0CC66207275}" dt="2021-05-04T16:19:49.517" v="51" actId="20577"/>
        <pc:sldMkLst>
          <pc:docMk/>
          <pc:sldMk cId="3540370793" sldId="2146848155"/>
        </pc:sldMkLst>
        <pc:spChg chg="mod">
          <ac:chgData name="Marshall, Allison" userId="8b75a215-c76d-4718-b6fa-cbdb1a79cb5c" providerId="ADAL" clId="{0568F6B1-4F3E-44FD-92EA-E0CC66207275}" dt="2021-05-04T16:19:49.517" v="51" actId="20577"/>
          <ac:spMkLst>
            <pc:docMk/>
            <pc:sldMk cId="3540370793" sldId="2146848155"/>
            <ac:spMk id="2" creationId="{AE5D81F8-24FE-48CF-8924-F99B4A765766}"/>
          </ac:spMkLst>
        </pc:spChg>
      </pc:sldChg>
      <pc:sldChg chg="modSp">
        <pc:chgData name="Marshall, Allison" userId="8b75a215-c76d-4718-b6fa-cbdb1a79cb5c" providerId="ADAL" clId="{0568F6B1-4F3E-44FD-92EA-E0CC66207275}" dt="2021-05-04T16:20:08.221" v="52" actId="1036"/>
        <pc:sldMkLst>
          <pc:docMk/>
          <pc:sldMk cId="3870862982" sldId="2146848170"/>
        </pc:sldMkLst>
        <pc:spChg chg="mod">
          <ac:chgData name="Marshall, Allison" userId="8b75a215-c76d-4718-b6fa-cbdb1a79cb5c" providerId="ADAL" clId="{0568F6B1-4F3E-44FD-92EA-E0CC66207275}" dt="2021-05-04T16:20:08.221" v="52" actId="1036"/>
          <ac:spMkLst>
            <pc:docMk/>
            <pc:sldMk cId="3870862982" sldId="2146848170"/>
            <ac:spMk id="2" creationId="{AE5D81F8-24FE-48CF-8924-F99B4A765766}"/>
          </ac:spMkLst>
        </pc:spChg>
      </pc:sldChg>
      <pc:sldChg chg="modSp">
        <pc:chgData name="Marshall, Allison" userId="8b75a215-c76d-4718-b6fa-cbdb1a79cb5c" providerId="ADAL" clId="{0568F6B1-4F3E-44FD-92EA-E0CC66207275}" dt="2021-05-04T16:22:05.796" v="72" actId="20577"/>
        <pc:sldMkLst>
          <pc:docMk/>
          <pc:sldMk cId="3056058551" sldId="2146848171"/>
        </pc:sldMkLst>
        <pc:spChg chg="mod">
          <ac:chgData name="Marshall, Allison" userId="8b75a215-c76d-4718-b6fa-cbdb1a79cb5c" providerId="ADAL" clId="{0568F6B1-4F3E-44FD-92EA-E0CC66207275}" dt="2021-05-04T16:22:05.796" v="72" actId="20577"/>
          <ac:spMkLst>
            <pc:docMk/>
            <pc:sldMk cId="3056058551" sldId="2146848171"/>
            <ac:spMk id="3" creationId="{6CDC545D-B6F0-4524-B0DC-3F9F4537D8A4}"/>
          </ac:spMkLst>
        </pc:spChg>
      </pc:sldChg>
      <pc:sldChg chg="del modNotesTx">
        <pc:chgData name="Marshall, Allison" userId="8b75a215-c76d-4718-b6fa-cbdb1a79cb5c" providerId="ADAL" clId="{0568F6B1-4F3E-44FD-92EA-E0CC66207275}" dt="2021-05-04T16:25:29.502" v="83" actId="2696"/>
        <pc:sldMkLst>
          <pc:docMk/>
          <pc:sldMk cId="1801924545" sldId="2146848175"/>
        </pc:sldMkLst>
      </pc:sldChg>
      <pc:sldChg chg="modSp add">
        <pc:chgData name="Marshall, Allison" userId="8b75a215-c76d-4718-b6fa-cbdb1a79cb5c" providerId="ADAL" clId="{0568F6B1-4F3E-44FD-92EA-E0CC66207275}" dt="2021-05-04T16:23:35.580" v="81" actId="20577"/>
        <pc:sldMkLst>
          <pc:docMk/>
          <pc:sldMk cId="2899593226" sldId="2146848176"/>
        </pc:sldMkLst>
        <pc:spChg chg="mod">
          <ac:chgData name="Marshall, Allison" userId="8b75a215-c76d-4718-b6fa-cbdb1a79cb5c" providerId="ADAL" clId="{0568F6B1-4F3E-44FD-92EA-E0CC66207275}" dt="2021-05-04T16:23:35.580" v="81" actId="20577"/>
          <ac:spMkLst>
            <pc:docMk/>
            <pc:sldMk cId="2899593226" sldId="2146848176"/>
            <ac:spMk id="3" creationId="{6CDC545D-B6F0-4524-B0DC-3F9F4537D8A4}"/>
          </ac:spMkLst>
        </pc:spChg>
      </pc:sldChg>
      <pc:sldChg chg="add del">
        <pc:chgData name="Marshall, Allison" userId="8b75a215-c76d-4718-b6fa-cbdb1a79cb5c" providerId="ADAL" clId="{0568F6B1-4F3E-44FD-92EA-E0CC66207275}" dt="2021-05-04T16:22:55.370" v="75" actId="1036"/>
        <pc:sldMkLst>
          <pc:docMk/>
          <pc:sldMk cId="400326585" sldId="2146848177"/>
        </pc:sldMkLst>
      </pc:sldChg>
      <pc:sldMasterChg chg="del delSldLayout">
        <pc:chgData name="Marshall, Allison" userId="8b75a215-c76d-4718-b6fa-cbdb1a79cb5c" providerId="ADAL" clId="{0568F6B1-4F3E-44FD-92EA-E0CC66207275}" dt="2021-05-04T16:25:29.574" v="117" actId="2696"/>
        <pc:sldMasterMkLst>
          <pc:docMk/>
          <pc:sldMasterMk cId="3589428491" sldId="2147483854"/>
        </pc:sldMasterMkLst>
        <pc:sldLayoutChg chg="del">
          <pc:chgData name="Marshall, Allison" userId="8b75a215-c76d-4718-b6fa-cbdb1a79cb5c" providerId="ADAL" clId="{0568F6B1-4F3E-44FD-92EA-E0CC66207275}" dt="2021-05-04T16:25:29.503" v="84" actId="2696"/>
          <pc:sldLayoutMkLst>
            <pc:docMk/>
            <pc:sldMasterMk cId="3589428491" sldId="2147483854"/>
            <pc:sldLayoutMk cId="2593865106" sldId="2147483855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05" v="85" actId="2696"/>
          <pc:sldLayoutMkLst>
            <pc:docMk/>
            <pc:sldMasterMk cId="3589428491" sldId="2147483854"/>
            <pc:sldLayoutMk cId="3115316203" sldId="2147483856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06" v="86" actId="2696"/>
          <pc:sldLayoutMkLst>
            <pc:docMk/>
            <pc:sldMasterMk cId="3589428491" sldId="2147483854"/>
            <pc:sldLayoutMk cId="1138050976" sldId="2147483857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07" v="87" actId="2696"/>
          <pc:sldLayoutMkLst>
            <pc:docMk/>
            <pc:sldMasterMk cId="3589428491" sldId="2147483854"/>
            <pc:sldLayoutMk cId="3323701795" sldId="2147483858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08" v="88" actId="2696"/>
          <pc:sldLayoutMkLst>
            <pc:docMk/>
            <pc:sldMasterMk cId="3589428491" sldId="2147483854"/>
            <pc:sldLayoutMk cId="2277789967" sldId="2147483859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10" v="89" actId="2696"/>
          <pc:sldLayoutMkLst>
            <pc:docMk/>
            <pc:sldMasterMk cId="3589428491" sldId="2147483854"/>
            <pc:sldLayoutMk cId="3483561830" sldId="2147483860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14" v="90" actId="2696"/>
          <pc:sldLayoutMkLst>
            <pc:docMk/>
            <pc:sldMasterMk cId="3589428491" sldId="2147483854"/>
            <pc:sldLayoutMk cId="3470954132" sldId="2147483861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15" v="91" actId="2696"/>
          <pc:sldLayoutMkLst>
            <pc:docMk/>
            <pc:sldMasterMk cId="3589428491" sldId="2147483854"/>
            <pc:sldLayoutMk cId="1097136807" sldId="2147483862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16" v="92" actId="2696"/>
          <pc:sldLayoutMkLst>
            <pc:docMk/>
            <pc:sldMasterMk cId="3589428491" sldId="2147483854"/>
            <pc:sldLayoutMk cId="2224711858" sldId="2147483863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17" v="93" actId="2696"/>
          <pc:sldLayoutMkLst>
            <pc:docMk/>
            <pc:sldMasterMk cId="3589428491" sldId="2147483854"/>
            <pc:sldLayoutMk cId="1559772576" sldId="2147483864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17" v="94" actId="2696"/>
          <pc:sldLayoutMkLst>
            <pc:docMk/>
            <pc:sldMasterMk cId="3589428491" sldId="2147483854"/>
            <pc:sldLayoutMk cId="2298886068" sldId="2147483865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18" v="95" actId="2696"/>
          <pc:sldLayoutMkLst>
            <pc:docMk/>
            <pc:sldMasterMk cId="3589428491" sldId="2147483854"/>
            <pc:sldLayoutMk cId="954344671" sldId="2147483866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20" v="96" actId="2696"/>
          <pc:sldLayoutMkLst>
            <pc:docMk/>
            <pc:sldMasterMk cId="3589428491" sldId="2147483854"/>
            <pc:sldLayoutMk cId="3183630005" sldId="2147483867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21" v="97" actId="2696"/>
          <pc:sldLayoutMkLst>
            <pc:docMk/>
            <pc:sldMasterMk cId="3589428491" sldId="2147483854"/>
            <pc:sldLayoutMk cId="1643450090" sldId="2147483868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22" v="98" actId="2696"/>
          <pc:sldLayoutMkLst>
            <pc:docMk/>
            <pc:sldMasterMk cId="3589428491" sldId="2147483854"/>
            <pc:sldLayoutMk cId="3781822232" sldId="2147483869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23" v="99" actId="2696"/>
          <pc:sldLayoutMkLst>
            <pc:docMk/>
            <pc:sldMasterMk cId="3589428491" sldId="2147483854"/>
            <pc:sldLayoutMk cId="4267599957" sldId="2147483870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25" v="100" actId="2696"/>
          <pc:sldLayoutMkLst>
            <pc:docMk/>
            <pc:sldMasterMk cId="3589428491" sldId="2147483854"/>
            <pc:sldLayoutMk cId="555292644" sldId="2147483871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27" v="101" actId="2696"/>
          <pc:sldLayoutMkLst>
            <pc:docMk/>
            <pc:sldMasterMk cId="3589428491" sldId="2147483854"/>
            <pc:sldLayoutMk cId="3673940465" sldId="2147483872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29" v="102" actId="2696"/>
          <pc:sldLayoutMkLst>
            <pc:docMk/>
            <pc:sldMasterMk cId="3589428491" sldId="2147483854"/>
            <pc:sldLayoutMk cId="2924665457" sldId="2147483873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30" v="103" actId="2696"/>
          <pc:sldLayoutMkLst>
            <pc:docMk/>
            <pc:sldMasterMk cId="3589428491" sldId="2147483854"/>
            <pc:sldLayoutMk cId="3577016597" sldId="2147483874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31" v="104" actId="2696"/>
          <pc:sldLayoutMkLst>
            <pc:docMk/>
            <pc:sldMasterMk cId="3589428491" sldId="2147483854"/>
            <pc:sldLayoutMk cId="3151251369" sldId="2147483875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32" v="105" actId="2696"/>
          <pc:sldLayoutMkLst>
            <pc:docMk/>
            <pc:sldMasterMk cId="3589428491" sldId="2147483854"/>
            <pc:sldLayoutMk cId="2289992191" sldId="2147483876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33" v="106" actId="2696"/>
          <pc:sldLayoutMkLst>
            <pc:docMk/>
            <pc:sldMasterMk cId="3589428491" sldId="2147483854"/>
            <pc:sldLayoutMk cId="3224977088" sldId="2147483877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34" v="107" actId="2696"/>
          <pc:sldLayoutMkLst>
            <pc:docMk/>
            <pc:sldMasterMk cId="3589428491" sldId="2147483854"/>
            <pc:sldLayoutMk cId="3369221505" sldId="2147483878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35" v="108" actId="2696"/>
          <pc:sldLayoutMkLst>
            <pc:docMk/>
            <pc:sldMasterMk cId="3589428491" sldId="2147483854"/>
            <pc:sldLayoutMk cId="2776219970" sldId="2147483879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36" v="109" actId="2696"/>
          <pc:sldLayoutMkLst>
            <pc:docMk/>
            <pc:sldMasterMk cId="3589428491" sldId="2147483854"/>
            <pc:sldLayoutMk cId="1932453108" sldId="2147483880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37" v="110" actId="2696"/>
          <pc:sldLayoutMkLst>
            <pc:docMk/>
            <pc:sldMasterMk cId="3589428491" sldId="2147483854"/>
            <pc:sldLayoutMk cId="1637105989" sldId="2147483881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38" v="111" actId="2696"/>
          <pc:sldLayoutMkLst>
            <pc:docMk/>
            <pc:sldMasterMk cId="3589428491" sldId="2147483854"/>
            <pc:sldLayoutMk cId="2098265489" sldId="2147483882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57" v="112" actId="2696"/>
          <pc:sldLayoutMkLst>
            <pc:docMk/>
            <pc:sldMasterMk cId="3589428491" sldId="2147483854"/>
            <pc:sldLayoutMk cId="1348600425" sldId="2147483883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57" v="113" actId="2696"/>
          <pc:sldLayoutMkLst>
            <pc:docMk/>
            <pc:sldMasterMk cId="3589428491" sldId="2147483854"/>
            <pc:sldLayoutMk cId="2582709903" sldId="2147483884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58" v="114" actId="2696"/>
          <pc:sldLayoutMkLst>
            <pc:docMk/>
            <pc:sldMasterMk cId="3589428491" sldId="2147483854"/>
            <pc:sldLayoutMk cId="550862442" sldId="2147483885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59" v="115" actId="2696"/>
          <pc:sldLayoutMkLst>
            <pc:docMk/>
            <pc:sldMasterMk cId="3589428491" sldId="2147483854"/>
            <pc:sldLayoutMk cId="2540104758" sldId="2147483886"/>
          </pc:sldLayoutMkLst>
        </pc:sldLayoutChg>
        <pc:sldLayoutChg chg="del">
          <pc:chgData name="Marshall, Allison" userId="8b75a215-c76d-4718-b6fa-cbdb1a79cb5c" providerId="ADAL" clId="{0568F6B1-4F3E-44FD-92EA-E0CC66207275}" dt="2021-05-04T16:25:29.560" v="116" actId="2696"/>
          <pc:sldLayoutMkLst>
            <pc:docMk/>
            <pc:sldMasterMk cId="3589428491" sldId="2147483854"/>
            <pc:sldLayoutMk cId="3093316959" sldId="2147483887"/>
          </pc:sldLayoutMkLst>
        </pc:sldLayoutChg>
      </pc:sldMasterChg>
    </pc:docChg>
  </pc:docChgLst>
  <pc:docChgLst>
    <pc:chgData name="Andrieu Casado, Jerome 513" userId="S::jand8467@sysco.com::45e17b70-04b5-42d3-9250-7903f2243e46" providerId="AD" clId="Web-{5E3AE39D-6BA2-4243-9DFD-531CF93C0398}"/>
    <pc:docChg chg="modSld">
      <pc:chgData name="Andrieu Casado, Jerome 513" userId="S::jand8467@sysco.com::45e17b70-04b5-42d3-9250-7903f2243e46" providerId="AD" clId="Web-{5E3AE39D-6BA2-4243-9DFD-531CF93C0398}" dt="2021-05-06T14:48:47.056" v="1" actId="1076"/>
      <pc:docMkLst>
        <pc:docMk/>
      </pc:docMkLst>
      <pc:sldChg chg="modSp">
        <pc:chgData name="Andrieu Casado, Jerome 513" userId="S::jand8467@sysco.com::45e17b70-04b5-42d3-9250-7903f2243e46" providerId="AD" clId="Web-{5E3AE39D-6BA2-4243-9DFD-531CF93C0398}" dt="2021-05-06T14:48:47.056" v="1" actId="1076"/>
        <pc:sldMkLst>
          <pc:docMk/>
          <pc:sldMk cId="160895341" sldId="391"/>
        </pc:sldMkLst>
        <pc:picChg chg="mod">
          <ac:chgData name="Andrieu Casado, Jerome 513" userId="S::jand8467@sysco.com::45e17b70-04b5-42d3-9250-7903f2243e46" providerId="AD" clId="Web-{5E3AE39D-6BA2-4243-9DFD-531CF93C0398}" dt="2021-05-06T14:48:47.056" v="1" actId="1076"/>
          <ac:picMkLst>
            <pc:docMk/>
            <pc:sldMk cId="160895341" sldId="391"/>
            <ac:picMk id="11" creationId="{A9FB2AE4-3963-9542-B274-6CF97B78F6B1}"/>
          </ac:picMkLst>
        </pc:picChg>
      </pc:sldChg>
    </pc:docChg>
  </pc:docChgLst>
  <pc:docChgLst>
    <pc:chgData name="Olson, Wendy" userId="S::wols7619@corp.sysco.com::69f92d10-77fa-4cd2-9c8c-71a9f7644a39" providerId="AD" clId="Web-{4A2D8216-F4F3-4B28-A4F9-66C4B8A2F460}"/>
    <pc:docChg chg="sldOrd">
      <pc:chgData name="Olson, Wendy" userId="S::wols7619@corp.sysco.com::69f92d10-77fa-4cd2-9c8c-71a9f7644a39" providerId="AD" clId="Web-{4A2D8216-F4F3-4B28-A4F9-66C4B8A2F460}" dt="2021-05-03T11:29:30.227" v="0"/>
      <pc:docMkLst>
        <pc:docMk/>
      </pc:docMkLst>
      <pc:sldChg chg="ord">
        <pc:chgData name="Olson, Wendy" userId="S::wols7619@corp.sysco.com::69f92d10-77fa-4cd2-9c8c-71a9f7644a39" providerId="AD" clId="Web-{4A2D8216-F4F3-4B28-A4F9-66C4B8A2F460}" dt="2021-05-03T11:29:30.227" v="0"/>
        <pc:sldMkLst>
          <pc:docMk/>
          <pc:sldMk cId="1247362346" sldId="2146848172"/>
        </pc:sldMkLst>
      </pc:sldChg>
    </pc:docChg>
  </pc:docChgLst>
  <pc:docChgLst>
    <pc:chgData name="Umaña, Katy" userId="S::kuma7739@corp.sysco.com::29d54d53-ede0-49ce-8601-7639caf49262" providerId="AD" clId="Web-{ECC90D6C-9D44-491A-97A9-33040D60CB6E}"/>
    <pc:docChg chg="modSld">
      <pc:chgData name="Umaña, Katy" userId="S::kuma7739@corp.sysco.com::29d54d53-ede0-49ce-8601-7639caf49262" providerId="AD" clId="Web-{ECC90D6C-9D44-491A-97A9-33040D60CB6E}" dt="2021-05-05T22:28:18.317" v="8" actId="20577"/>
      <pc:docMkLst>
        <pc:docMk/>
      </pc:docMkLst>
      <pc:sldChg chg="modSp">
        <pc:chgData name="Umaña, Katy" userId="S::kuma7739@corp.sysco.com::29d54d53-ede0-49ce-8601-7639caf49262" providerId="AD" clId="Web-{ECC90D6C-9D44-491A-97A9-33040D60CB6E}" dt="2021-05-05T22:28:18.317" v="8" actId="20577"/>
        <pc:sldMkLst>
          <pc:docMk/>
          <pc:sldMk cId="1546897734" sldId="2146848153"/>
        </pc:sldMkLst>
        <pc:spChg chg="mod">
          <ac:chgData name="Umaña, Katy" userId="S::kuma7739@corp.sysco.com::29d54d53-ede0-49ce-8601-7639caf49262" providerId="AD" clId="Web-{ECC90D6C-9D44-491A-97A9-33040D60CB6E}" dt="2021-05-05T22:27:47.768" v="2" actId="20577"/>
          <ac:spMkLst>
            <pc:docMk/>
            <pc:sldMk cId="1546897734" sldId="2146848153"/>
            <ac:spMk id="17" creationId="{BA640A94-93CC-8242-ADBF-F10897372179}"/>
          </ac:spMkLst>
        </pc:spChg>
        <pc:spChg chg="mod">
          <ac:chgData name="Umaña, Katy" userId="S::kuma7739@corp.sysco.com::29d54d53-ede0-49ce-8601-7639caf49262" providerId="AD" clId="Web-{ECC90D6C-9D44-491A-97A9-33040D60CB6E}" dt="2021-05-05T22:27:47.877" v="3" actId="20577"/>
          <ac:spMkLst>
            <pc:docMk/>
            <pc:sldMk cId="1546897734" sldId="2146848153"/>
            <ac:spMk id="18" creationId="{3BAA7209-DD44-4C42-BE12-C9A6BC8DCF3B}"/>
          </ac:spMkLst>
        </pc:spChg>
        <pc:spChg chg="mod">
          <ac:chgData name="Umaña, Katy" userId="S::kuma7739@corp.sysco.com::29d54d53-ede0-49ce-8601-7639caf49262" providerId="AD" clId="Web-{ECC90D6C-9D44-491A-97A9-33040D60CB6E}" dt="2021-05-05T22:28:18.317" v="8" actId="20577"/>
          <ac:spMkLst>
            <pc:docMk/>
            <pc:sldMk cId="1546897734" sldId="2146848153"/>
            <ac:spMk id="19" creationId="{B8FDA569-9CF8-F24B-B57E-6BC022C9E17E}"/>
          </ac:spMkLst>
        </pc:spChg>
        <pc:spChg chg="mod">
          <ac:chgData name="Umaña, Katy" userId="S::kuma7739@corp.sysco.com::29d54d53-ede0-49ce-8601-7639caf49262" providerId="AD" clId="Web-{ECC90D6C-9D44-491A-97A9-33040D60CB6E}" dt="2021-05-05T22:28:12.676" v="7" actId="20577"/>
          <ac:spMkLst>
            <pc:docMk/>
            <pc:sldMk cId="1546897734" sldId="2146848153"/>
            <ac:spMk id="20" creationId="{776FDFB8-7FCC-B440-B2F9-437828896E17}"/>
          </ac:spMkLst>
        </pc:spChg>
        <pc:spChg chg="mod">
          <ac:chgData name="Umaña, Katy" userId="S::kuma7739@corp.sysco.com::29d54d53-ede0-49ce-8601-7639caf49262" providerId="AD" clId="Web-{ECC90D6C-9D44-491A-97A9-33040D60CB6E}" dt="2021-05-05T22:28:09.676" v="5" actId="20577"/>
          <ac:spMkLst>
            <pc:docMk/>
            <pc:sldMk cId="1546897734" sldId="2146848153"/>
            <ac:spMk id="21" creationId="{E3BCE2E0-C422-0948-B17E-72F557BBB207}"/>
          </ac:spMkLst>
        </pc:spChg>
        <pc:spChg chg="mod">
          <ac:chgData name="Umaña, Katy" userId="S::kuma7739@corp.sysco.com::29d54d53-ede0-49ce-8601-7639caf49262" providerId="AD" clId="Web-{ECC90D6C-9D44-491A-97A9-33040D60CB6E}" dt="2021-05-05T22:28:03.597" v="4" actId="20577"/>
          <ac:spMkLst>
            <pc:docMk/>
            <pc:sldMk cId="1546897734" sldId="2146848153"/>
            <ac:spMk id="22" creationId="{8F28D60F-52C0-3645-BD91-2B6A1F7E1250}"/>
          </ac:spMkLst>
        </pc:spChg>
      </pc:sldChg>
    </pc:docChg>
  </pc:docChgLst>
  <pc:docChgLst>
    <pc:chgData name="Olson, Wendy" userId="69f92d10-77fa-4cd2-9c8c-71a9f7644a39" providerId="ADAL" clId="{291B2ABF-E0A7-44CF-9711-D53CD47ECD4A}"/>
    <pc:docChg chg="custSel modSld">
      <pc:chgData name="Olson, Wendy" userId="69f92d10-77fa-4cd2-9c8c-71a9f7644a39" providerId="ADAL" clId="{291B2ABF-E0A7-44CF-9711-D53CD47ECD4A}" dt="2021-05-03T11:30:17.020" v="1" actId="27636"/>
      <pc:docMkLst>
        <pc:docMk/>
      </pc:docMkLst>
      <pc:sldChg chg="modSp">
        <pc:chgData name="Olson, Wendy" userId="69f92d10-77fa-4cd2-9c8c-71a9f7644a39" providerId="ADAL" clId="{291B2ABF-E0A7-44CF-9711-D53CD47ECD4A}" dt="2021-05-03T11:30:17.020" v="1" actId="27636"/>
        <pc:sldMkLst>
          <pc:docMk/>
          <pc:sldMk cId="2701670749" sldId="21663"/>
        </pc:sldMkLst>
        <pc:spChg chg="mod">
          <ac:chgData name="Olson, Wendy" userId="69f92d10-77fa-4cd2-9c8c-71a9f7644a39" providerId="ADAL" clId="{291B2ABF-E0A7-44CF-9711-D53CD47ECD4A}" dt="2021-05-03T11:30:17.020" v="1" actId="27636"/>
          <ac:spMkLst>
            <pc:docMk/>
            <pc:sldMk cId="2701670749" sldId="21663"/>
            <ac:spMk id="7" creationId="{EFB341F9-03D1-CB40-9AFE-F03D8F8720DF}"/>
          </ac:spMkLst>
        </pc:spChg>
      </pc:sldChg>
      <pc:sldChg chg="modSp">
        <pc:chgData name="Olson, Wendy" userId="69f92d10-77fa-4cd2-9c8c-71a9f7644a39" providerId="ADAL" clId="{291B2ABF-E0A7-44CF-9711-D53CD47ECD4A}" dt="2021-05-03T11:30:17.006" v="0" actId="27636"/>
        <pc:sldMkLst>
          <pc:docMk/>
          <pc:sldMk cId="2898597529" sldId="2134806154"/>
        </pc:sldMkLst>
        <pc:spChg chg="mod">
          <ac:chgData name="Olson, Wendy" userId="69f92d10-77fa-4cd2-9c8c-71a9f7644a39" providerId="ADAL" clId="{291B2ABF-E0A7-44CF-9711-D53CD47ECD4A}" dt="2021-05-03T11:30:17.006" v="0" actId="27636"/>
          <ac:spMkLst>
            <pc:docMk/>
            <pc:sldMk cId="2898597529" sldId="2134806154"/>
            <ac:spMk id="5" creationId="{8E31B6F3-3C19-457D-A52D-5DDA7521B52D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DBDD15B-3B3C-694C-A8FD-66EFCBE8928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8B142B-98FC-0943-948E-D6DAE9E85EF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CD8C89-D4E9-F449-8C54-404042348220}" type="datetimeFigureOut">
              <a:rPr lang="en-US" smtClean="0"/>
              <a:t>1/25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08681B-D088-F14F-9F8E-6EDFF46B477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FF88DF-0CD6-F642-8532-4B225E8D796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A1A912-70BC-0449-8119-49DCC8938EC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7643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19F3E8-001B-DD4E-A6A0-F29B54682F77}" type="datetimeFigureOut">
              <a:rPr lang="en-US" smtClean="0"/>
              <a:t>1/2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8EB70D-AB85-3C4D-BEE3-82F532D4ED23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179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FR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tre déclaration d’objectif </a:t>
            </a:r>
            <a:endParaRPr lang="fr-FR" sz="1200" b="0" i="0" strike="noStrike" cap="none" spc="0" baseline="0">
              <a:solidFill>
                <a:srgbClr val="FF0000"/>
              </a:solidFill>
              <a:effectLst/>
              <a:latin typeface="+mn-lt"/>
              <a:ea typeface="Calibri"/>
              <a:cs typeface="Calibri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8EB70D-AB85-3C4D-BEE3-82F532D4ED23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3045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18.emf"/><Relationship Id="rId4" Type="http://schemas.openxmlformats.org/officeDocument/2006/relationships/image" Target="../media/image14.png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1">
            <a:extLst>
              <a:ext uri="{FF2B5EF4-FFF2-40B4-BE49-F238E27FC236}">
                <a16:creationId xmlns:a16="http://schemas.microsoft.com/office/drawing/2014/main" id="{0E365B36-5093-3F47-9B5E-676A3E044C3E}"/>
              </a:ext>
            </a:extLst>
          </p:cNvPr>
          <p:cNvSpPr/>
          <p:nvPr userDrawn="1"/>
        </p:nvSpPr>
        <p:spPr>
          <a:xfrm>
            <a:off x="2678523" y="618618"/>
            <a:ext cx="6834951" cy="5620764"/>
          </a:xfrm>
          <a:custGeom>
            <a:avLst/>
            <a:gdLst>
              <a:gd name="connsiteX0" fmla="*/ 28 w 7945207"/>
              <a:gd name="connsiteY0" fmla="*/ 3193660 h 6533789"/>
              <a:gd name="connsiteX1" fmla="*/ 4485668 w 7945207"/>
              <a:gd name="connsiteY1" fmla="*/ 140118 h 6533789"/>
              <a:gd name="connsiteX2" fmla="*/ 7945148 w 7945207"/>
              <a:gd name="connsiteY2" fmla="*/ 3285100 h 6533789"/>
              <a:gd name="connsiteX3" fmla="*/ 4485668 w 7945207"/>
              <a:gd name="connsiteY3" fmla="*/ 6430082 h 6533789"/>
              <a:gd name="connsiteX4" fmla="*/ 28 w 7945207"/>
              <a:gd name="connsiteY4" fmla="*/ 3193660 h 6533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207" h="6533788">
                <a:moveTo>
                  <a:pt x="28" y="3193660"/>
                </a:moveTo>
                <a:cubicBezTo>
                  <a:pt x="10188" y="948734"/>
                  <a:pt x="2297881" y="-464402"/>
                  <a:pt x="4485668" y="140118"/>
                </a:cubicBezTo>
                <a:cubicBezTo>
                  <a:pt x="6673455" y="744638"/>
                  <a:pt x="7955308" y="1548174"/>
                  <a:pt x="7945148" y="3285100"/>
                </a:cubicBezTo>
                <a:cubicBezTo>
                  <a:pt x="7934988" y="5022026"/>
                  <a:pt x="6307695" y="5906842"/>
                  <a:pt x="4485668" y="6430082"/>
                </a:cubicBezTo>
                <a:cubicBezTo>
                  <a:pt x="2663641" y="6953322"/>
                  <a:pt x="-10132" y="5438586"/>
                  <a:pt x="28" y="319366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190500" algn="ctr" rotWithShape="0">
              <a:schemeClr val="tx2">
                <a:lumMod val="50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C92CBCFA-3E98-3A43-9E8B-0D9DC35FAE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28076" y="4096047"/>
            <a:ext cx="6535849" cy="307777"/>
          </a:xfrm>
        </p:spPr>
        <p:txBody>
          <a:bodyPr wrap="square">
            <a:spAutoFit/>
          </a:bodyPr>
          <a:lstStyle>
            <a:lvl1pPr algn="ctr">
              <a:defRPr sz="1400" b="0" i="0">
                <a:solidFill>
                  <a:schemeClr val="bg1"/>
                </a:solidFill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Location | Dat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666C88E6-39E2-7944-AFFF-B9CAA96B96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28076" y="3638412"/>
            <a:ext cx="6535849" cy="400110"/>
          </a:xfrm>
        </p:spPr>
        <p:txBody>
          <a:bodyPr wrap="square">
            <a:spAutoFit/>
          </a:bodyPr>
          <a:lstStyle>
            <a:lvl1pPr algn="ctr">
              <a:defRPr sz="2000" b="1" i="0" spc="300">
                <a:solidFill>
                  <a:schemeClr val="bg1"/>
                </a:solidFill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SUBHEADER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3DBEA0E-6107-5C48-A772-E5732D1329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23201" y="1982718"/>
            <a:ext cx="1545597" cy="80434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7309ADE-FED6-A847-BEBE-5E668F1006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2132" y="2831087"/>
            <a:ext cx="7447732" cy="823070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Title of Presentation</a:t>
            </a:r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D26003A1-0A55-A245-9ABC-83E34DAE43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‹N°›</a:t>
            </a:fld>
            <a:endParaRPr lang="en-US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0D8120D0-706A-F94A-89E4-1896F64495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5642518 w 12192000"/>
              <a:gd name="connsiteY0" fmla="*/ 428469 h 6858000"/>
              <a:gd name="connsiteX1" fmla="*/ 2415248 w 12192000"/>
              <a:gd name="connsiteY1" fmla="*/ 3403599 h 6858000"/>
              <a:gd name="connsiteX2" fmla="*/ 5594618 w 12192000"/>
              <a:gd name="connsiteY2" fmla="*/ 6497264 h 6858000"/>
              <a:gd name="connsiteX3" fmla="*/ 9760202 w 12192000"/>
              <a:gd name="connsiteY3" fmla="*/ 3505200 h 6858000"/>
              <a:gd name="connsiteX4" fmla="*/ 5642518 w 12192000"/>
              <a:gd name="connsiteY4" fmla="*/ 428469 h 6858000"/>
              <a:gd name="connsiteX5" fmla="*/ 0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  <a:gd name="connsiteX9" fmla="*/ 0 w 12192000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5642518" y="428469"/>
                </a:moveTo>
                <a:cubicBezTo>
                  <a:pt x="4418359" y="411536"/>
                  <a:pt x="2304698" y="1291467"/>
                  <a:pt x="2415248" y="3403599"/>
                </a:cubicBezTo>
                <a:cubicBezTo>
                  <a:pt x="2525798" y="5515731"/>
                  <a:pt x="4370459" y="6480331"/>
                  <a:pt x="5594618" y="6497264"/>
                </a:cubicBezTo>
                <a:cubicBezTo>
                  <a:pt x="6818777" y="6514198"/>
                  <a:pt x="9633685" y="5803599"/>
                  <a:pt x="9760202" y="3505200"/>
                </a:cubicBezTo>
                <a:cubicBezTo>
                  <a:pt x="9886719" y="1206801"/>
                  <a:pt x="6866677" y="445403"/>
                  <a:pt x="5642518" y="428469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Insert picture -&gt;send to back</a:t>
            </a:r>
          </a:p>
        </p:txBody>
      </p:sp>
    </p:spTree>
    <p:extLst>
      <p:ext uri="{BB962C8B-B14F-4D97-AF65-F5344CB8AC3E}">
        <p14:creationId xmlns:p14="http://schemas.microsoft.com/office/powerpoint/2010/main" val="269071379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8D304DF-D40F-B845-AC0A-45CD82390529}"/>
              </a:ext>
            </a:extLst>
          </p:cNvPr>
          <p:cNvSpPr/>
          <p:nvPr userDrawn="1"/>
        </p:nvSpPr>
        <p:spPr>
          <a:xfrm>
            <a:off x="9822873" y="0"/>
            <a:ext cx="2369127" cy="15237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6685116-F388-3A42-910E-209D416B17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6662472" y="2347529"/>
            <a:ext cx="3880699" cy="218516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C113AE7-D8B3-4F42-BE85-F7BDB990E2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4230852" y="2347529"/>
            <a:ext cx="3880699" cy="218516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46A44904-41E5-634B-8860-D1C4A07054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1799232" y="2347529"/>
            <a:ext cx="3880699" cy="2185169"/>
          </a:xfrm>
          <a:prstGeom prst="rect">
            <a:avLst/>
          </a:prstGeom>
        </p:spPr>
      </p:pic>
      <p:sp>
        <p:nvSpPr>
          <p:cNvPr id="31" name="Oval 6">
            <a:extLst>
              <a:ext uri="{FF2B5EF4-FFF2-40B4-BE49-F238E27FC236}">
                <a16:creationId xmlns:a16="http://schemas.microsoft.com/office/drawing/2014/main" id="{9A722B9C-1E95-0C41-B619-ADB1FB35F446}"/>
              </a:ext>
            </a:extLst>
          </p:cNvPr>
          <p:cNvSpPr/>
          <p:nvPr userDrawn="1"/>
        </p:nvSpPr>
        <p:spPr>
          <a:xfrm>
            <a:off x="2274362" y="351872"/>
            <a:ext cx="7643277" cy="6154257"/>
          </a:xfrm>
          <a:custGeom>
            <a:avLst/>
            <a:gdLst>
              <a:gd name="connsiteX0" fmla="*/ 642 w 8553911"/>
              <a:gd name="connsiteY0" fmla="*/ 3713786 h 7767033"/>
              <a:gd name="connsiteX1" fmla="*/ 4336993 w 8553911"/>
              <a:gd name="connsiteY1" fmla="*/ 80 h 7767033"/>
              <a:gd name="connsiteX2" fmla="*/ 8502168 w 8553911"/>
              <a:gd name="connsiteY2" fmla="*/ 4209732 h 7767033"/>
              <a:gd name="connsiteX3" fmla="*/ 4282402 w 8553911"/>
              <a:gd name="connsiteY3" fmla="*/ 7638733 h 7767033"/>
              <a:gd name="connsiteX4" fmla="*/ 642 w 8553911"/>
              <a:gd name="connsiteY4" fmla="*/ 3713786 h 7767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53911" h="7767033">
                <a:moveTo>
                  <a:pt x="642" y="3713786"/>
                </a:moveTo>
                <a:cubicBezTo>
                  <a:pt x="50684" y="428995"/>
                  <a:pt x="2311476" y="10946"/>
                  <a:pt x="4336993" y="80"/>
                </a:cubicBezTo>
                <a:cubicBezTo>
                  <a:pt x="6362510" y="-10786"/>
                  <a:pt x="8953238" y="1086144"/>
                  <a:pt x="8502168" y="4209732"/>
                </a:cubicBezTo>
                <a:cubicBezTo>
                  <a:pt x="8051098" y="7333320"/>
                  <a:pt x="5726619" y="7090865"/>
                  <a:pt x="4282402" y="7638733"/>
                </a:cubicBezTo>
                <a:cubicBezTo>
                  <a:pt x="2838185" y="8186601"/>
                  <a:pt x="-49400" y="6998577"/>
                  <a:pt x="642" y="371378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190500" dist="12700" algn="ctr" rotWithShape="0">
              <a:schemeClr val="accent5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43435D6-78D5-634F-BDBD-6ACFF0A8A0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94122" y="1421741"/>
            <a:ext cx="5603756" cy="1335382"/>
          </a:xfrm>
        </p:spPr>
        <p:txBody>
          <a:bodyPr anchor="b">
            <a:noAutofit/>
          </a:bodyPr>
          <a:lstStyle>
            <a:lvl1pPr algn="ctr">
              <a:defRPr sz="2000" b="0" spc="3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SUBHEADER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DE367E5-3DEE-3F40-8636-125A81CDE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4122" y="2586272"/>
            <a:ext cx="5603756" cy="3169421"/>
          </a:xfrm>
        </p:spPr>
        <p:txBody>
          <a:bodyPr anchor="t">
            <a:normAutofit/>
          </a:bodyPr>
          <a:lstStyle>
            <a:lvl1pPr algn="ctr">
              <a:defRPr sz="5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DIVIDER 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3F0BD42-F782-104C-84B5-E16E22111B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24050" y="366081"/>
            <a:ext cx="1253449" cy="486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79011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ifying Framewo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72351C0-8318-FE4C-9FC5-9E951AC45F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00762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Purpos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9">
            <a:extLst>
              <a:ext uri="{FF2B5EF4-FFF2-40B4-BE49-F238E27FC236}">
                <a16:creationId xmlns:a16="http://schemas.microsoft.com/office/drawing/2014/main" id="{9E8A5C6F-D88E-CC43-B3DA-C5B18518B417}"/>
              </a:ext>
            </a:extLst>
          </p:cNvPr>
          <p:cNvSpPr/>
          <p:nvPr userDrawn="1"/>
        </p:nvSpPr>
        <p:spPr>
          <a:xfrm>
            <a:off x="2649098" y="366811"/>
            <a:ext cx="6893804" cy="6124379"/>
          </a:xfrm>
          <a:custGeom>
            <a:avLst/>
            <a:gdLst>
              <a:gd name="connsiteX0" fmla="*/ 56031 w 6893804"/>
              <a:gd name="connsiteY0" fmla="*/ 3119673 h 6124379"/>
              <a:gd name="connsiteX1" fmla="*/ 2619081 w 6893804"/>
              <a:gd name="connsiteY1" fmla="*/ 24361 h 6124379"/>
              <a:gd name="connsiteX2" fmla="*/ 6888100 w 6893804"/>
              <a:gd name="connsiteY2" fmla="*/ 2751184 h 6124379"/>
              <a:gd name="connsiteX3" fmla="*/ 3847379 w 6893804"/>
              <a:gd name="connsiteY3" fmla="*/ 6078507 h 6124379"/>
              <a:gd name="connsiteX4" fmla="*/ 56031 w 6893804"/>
              <a:gd name="connsiteY4" fmla="*/ 3119673 h 6124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93804" h="6124379">
                <a:moveTo>
                  <a:pt x="56031" y="3119673"/>
                </a:moveTo>
                <a:cubicBezTo>
                  <a:pt x="-148685" y="2110649"/>
                  <a:pt x="101979" y="276845"/>
                  <a:pt x="2619081" y="24361"/>
                </a:cubicBezTo>
                <a:cubicBezTo>
                  <a:pt x="5136183" y="-228123"/>
                  <a:pt x="7010930" y="1537444"/>
                  <a:pt x="6888100" y="2751184"/>
                </a:cubicBezTo>
                <a:cubicBezTo>
                  <a:pt x="6765270" y="3964924"/>
                  <a:pt x="6432719" y="5675897"/>
                  <a:pt x="3847379" y="6078507"/>
                </a:cubicBezTo>
                <a:cubicBezTo>
                  <a:pt x="1262039" y="6481117"/>
                  <a:pt x="260747" y="4128697"/>
                  <a:pt x="56031" y="3119673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90500" algn="ctr" rotWithShape="0">
              <a:schemeClr val="tx2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F03DA388-4DC4-8E44-B2DE-B396FAC127DE}"/>
              </a:ext>
            </a:extLst>
          </p:cNvPr>
          <p:cNvSpPr txBox="1"/>
          <p:nvPr userDrawn="1"/>
        </p:nvSpPr>
        <p:spPr>
          <a:xfrm>
            <a:off x="3594499" y="1700297"/>
            <a:ext cx="5003002" cy="680224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sz="4000" b="1" kern="1200">
                <a:solidFill>
                  <a:schemeClr val="bg1"/>
                </a:solidFill>
                <a:latin typeface="Myriad Pro" panose="020B0503030403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fr-FR" sz="3600" b="0" i="0" strike="noStrike" cap="none" spc="60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NOTRE OBJECTIF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CBF773-E571-E446-83EE-8DFC5FA4F2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3663"/>
          <a:stretch>
            <a:fillRect/>
          </a:stretch>
        </p:blipFill>
        <p:spPr>
          <a:xfrm>
            <a:off x="0" y="251199"/>
            <a:ext cx="12192000" cy="6606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904814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>
            <a:extLst>
              <a:ext uri="{FF2B5EF4-FFF2-40B4-BE49-F238E27FC236}">
                <a16:creationId xmlns:a16="http://schemas.microsoft.com/office/drawing/2014/main" id="{4ED0A5F9-853F-3E4B-9EF7-E07004BB6A2C}"/>
              </a:ext>
            </a:extLst>
          </p:cNvPr>
          <p:cNvSpPr/>
          <p:nvPr userDrawn="1"/>
        </p:nvSpPr>
        <p:spPr>
          <a:xfrm rot="5400000">
            <a:off x="6759525" y="-1209494"/>
            <a:ext cx="4222981" cy="6641969"/>
          </a:xfrm>
          <a:custGeom>
            <a:avLst/>
            <a:gdLst>
              <a:gd name="connsiteX0" fmla="*/ 0 w 4222981"/>
              <a:gd name="connsiteY0" fmla="*/ 6641969 h 6641969"/>
              <a:gd name="connsiteX1" fmla="*/ 0 w 4222981"/>
              <a:gd name="connsiteY1" fmla="*/ 0 h 6641969"/>
              <a:gd name="connsiteX2" fmla="*/ 4222981 w 4222981"/>
              <a:gd name="connsiteY2" fmla="*/ 0 h 6641969"/>
              <a:gd name="connsiteX3" fmla="*/ 4222587 w 4222981"/>
              <a:gd name="connsiteY3" fmla="*/ 2489 h 6641969"/>
              <a:gd name="connsiteX4" fmla="*/ 889945 w 4222981"/>
              <a:gd name="connsiteY4" fmla="*/ 1928456 h 6641969"/>
              <a:gd name="connsiteX5" fmla="*/ 0 w 4222981"/>
              <a:gd name="connsiteY5" fmla="*/ 6641969 h 6641969"/>
              <a:gd name="connsiteX6" fmla="*/ 0 w 4222981"/>
              <a:gd name="connsiteY6" fmla="*/ 6641969 h 6653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22981" h="6641969">
                <a:moveTo>
                  <a:pt x="0" y="6641969"/>
                </a:moveTo>
                <a:lnTo>
                  <a:pt x="0" y="0"/>
                </a:lnTo>
                <a:lnTo>
                  <a:pt x="4222981" y="0"/>
                </a:lnTo>
                <a:cubicBezTo>
                  <a:pt x="4222850" y="830"/>
                  <a:pt x="4222718" y="1659"/>
                  <a:pt x="4222587" y="2489"/>
                </a:cubicBezTo>
                <a:cubicBezTo>
                  <a:pt x="4111473" y="121505"/>
                  <a:pt x="1627162" y="461320"/>
                  <a:pt x="889945" y="1928456"/>
                </a:cubicBezTo>
                <a:cubicBezTo>
                  <a:pt x="152728" y="3395592"/>
                  <a:pt x="3358" y="6636279"/>
                  <a:pt x="0" y="664196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27000" dist="38100" dir="5400000" algn="ctr" rotWithShape="0">
              <a:schemeClr val="tx2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F45FEB03-27F1-834E-BE9C-CBF7B5CDEA11}"/>
              </a:ext>
            </a:extLst>
          </p:cNvPr>
          <p:cNvSpPr/>
          <p:nvPr userDrawn="1"/>
        </p:nvSpPr>
        <p:spPr>
          <a:xfrm rot="16200000">
            <a:off x="1209493" y="1425524"/>
            <a:ext cx="4222981" cy="6641969"/>
          </a:xfrm>
          <a:custGeom>
            <a:avLst/>
            <a:gdLst>
              <a:gd name="connsiteX0" fmla="*/ 0 w 4222981"/>
              <a:gd name="connsiteY0" fmla="*/ 6641969 h 6641969"/>
              <a:gd name="connsiteX1" fmla="*/ 0 w 4222981"/>
              <a:gd name="connsiteY1" fmla="*/ 0 h 6641969"/>
              <a:gd name="connsiteX2" fmla="*/ 4222981 w 4222981"/>
              <a:gd name="connsiteY2" fmla="*/ 0 h 6641969"/>
              <a:gd name="connsiteX3" fmla="*/ 4222587 w 4222981"/>
              <a:gd name="connsiteY3" fmla="*/ 2489 h 6641969"/>
              <a:gd name="connsiteX4" fmla="*/ 1090668 w 4222981"/>
              <a:gd name="connsiteY4" fmla="*/ 1895002 h 6641969"/>
              <a:gd name="connsiteX5" fmla="*/ 0 w 4222981"/>
              <a:gd name="connsiteY5" fmla="*/ 6641969 h 6641969"/>
              <a:gd name="connsiteX6" fmla="*/ 0 w 4222981"/>
              <a:gd name="connsiteY6" fmla="*/ 6641969 h 6653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22981" h="6641969">
                <a:moveTo>
                  <a:pt x="0" y="6641969"/>
                </a:moveTo>
                <a:lnTo>
                  <a:pt x="0" y="0"/>
                </a:lnTo>
                <a:lnTo>
                  <a:pt x="4222981" y="0"/>
                </a:lnTo>
                <a:cubicBezTo>
                  <a:pt x="4222850" y="830"/>
                  <a:pt x="4222718" y="1659"/>
                  <a:pt x="4222587" y="2489"/>
                </a:cubicBezTo>
                <a:cubicBezTo>
                  <a:pt x="4111473" y="121505"/>
                  <a:pt x="1995154" y="327505"/>
                  <a:pt x="1090668" y="1895002"/>
                </a:cubicBezTo>
                <a:cubicBezTo>
                  <a:pt x="186182" y="3462499"/>
                  <a:pt x="3358" y="6636279"/>
                  <a:pt x="0" y="664196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27000" dist="38100" dir="18900000" algn="bl" rotWithShape="0">
              <a:schemeClr val="tx2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D6F1D8C-0B31-1F4F-A7D1-64092A2690FE}"/>
              </a:ext>
            </a:extLst>
          </p:cNvPr>
          <p:cNvGrpSpPr/>
          <p:nvPr userDrawn="1"/>
        </p:nvGrpSpPr>
        <p:grpSpPr>
          <a:xfrm>
            <a:off x="5227320" y="187646"/>
            <a:ext cx="1737361" cy="6482709"/>
            <a:chOff x="5227320" y="375291"/>
            <a:chExt cx="1737361" cy="6482709"/>
          </a:xfrm>
          <a:solidFill>
            <a:schemeClr val="tx2">
              <a:lumMod val="75000"/>
            </a:schemeClr>
          </a:solidFill>
        </p:grpSpPr>
        <p:pic>
          <p:nvPicPr>
            <p:cNvPr id="5" name="Graphic 4" descr="Open quotation mark outline">
              <a:extLst>
                <a:ext uri="{FF2B5EF4-FFF2-40B4-BE49-F238E27FC236}">
                  <a16:creationId xmlns:a16="http://schemas.microsoft.com/office/drawing/2014/main" id="{94EA5BD1-2DE9-3743-85B7-D4CAEAFCCD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227320" y="375291"/>
              <a:ext cx="1737360" cy="1737360"/>
            </a:xfrm>
            <a:prstGeom prst="rect">
              <a:avLst/>
            </a:prstGeom>
          </p:spPr>
        </p:pic>
        <p:pic>
          <p:nvPicPr>
            <p:cNvPr id="6" name="Graphic 5" descr="Open quotation mark outline">
              <a:extLst>
                <a:ext uri="{FF2B5EF4-FFF2-40B4-BE49-F238E27FC236}">
                  <a16:creationId xmlns:a16="http://schemas.microsoft.com/office/drawing/2014/main" id="{11C26C6E-0863-BD40-A6E0-BECFC8852A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0800000">
              <a:off x="5227321" y="5120640"/>
              <a:ext cx="1737360" cy="1737360"/>
            </a:xfrm>
            <a:prstGeom prst="rect">
              <a:avLst/>
            </a:prstGeom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D29BAD2A-89B2-FC4D-9419-155D6597538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613345" y="365125"/>
            <a:ext cx="1250955" cy="479533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46F646E-B23E-2F48-A6FD-ED485FC2636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62004" y="1907756"/>
            <a:ext cx="9467993" cy="3042489"/>
          </a:xfrm>
        </p:spPr>
        <p:txBody>
          <a:bodyPr anchor="ctr">
            <a:normAutofit/>
          </a:bodyPr>
          <a:lstStyle>
            <a:lvl1pPr algn="ctr">
              <a:lnSpc>
                <a:spcPct val="150000"/>
              </a:lnSpc>
              <a:defRPr sz="28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84187601-B5D1-0245-9151-CA3FD8D6A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32845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4">
            <a:extLst>
              <a:ext uri="{FF2B5EF4-FFF2-40B4-BE49-F238E27FC236}">
                <a16:creationId xmlns:a16="http://schemas.microsoft.com/office/drawing/2014/main" id="{ED9EBE19-53A1-6748-B959-2B7E5881145A}"/>
              </a:ext>
            </a:extLst>
          </p:cNvPr>
          <p:cNvSpPr/>
          <p:nvPr userDrawn="1"/>
        </p:nvSpPr>
        <p:spPr>
          <a:xfrm flipV="1">
            <a:off x="0" y="0"/>
            <a:ext cx="6183630" cy="6858000"/>
          </a:xfrm>
          <a:custGeom>
            <a:avLst/>
            <a:gdLst>
              <a:gd name="connsiteX0" fmla="*/ 0 w 6224191"/>
              <a:gd name="connsiteY0" fmla="*/ 0 h 6858000"/>
              <a:gd name="connsiteX1" fmla="*/ 5780868 w 6224191"/>
              <a:gd name="connsiteY1" fmla="*/ 0 h 6858000"/>
              <a:gd name="connsiteX2" fmla="*/ 5780868 w 6224191"/>
              <a:gd name="connsiteY2" fmla="*/ 6858000 h 6858000"/>
              <a:gd name="connsiteX3" fmla="*/ 0 w 6224191"/>
              <a:gd name="connsiteY3" fmla="*/ 6858000 h 6858000"/>
              <a:gd name="connsiteX4" fmla="*/ 0 w 6224191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4191" h="6858000">
                <a:moveTo>
                  <a:pt x="0" y="0"/>
                </a:moveTo>
                <a:lnTo>
                  <a:pt x="5780868" y="0"/>
                </a:lnTo>
                <a:cubicBezTo>
                  <a:pt x="7034476" y="2062671"/>
                  <a:pt x="5166718" y="4476466"/>
                  <a:pt x="5780868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27000" dist="38100" algn="l" rotWithShape="0">
              <a:schemeClr val="tx2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>
              <a:latin typeface="Myriad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2E8B19-CB5B-C74E-9371-8079759EE9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971" y="253111"/>
            <a:ext cx="9912929" cy="807063"/>
          </a:xfrm>
        </p:spPr>
        <p:txBody>
          <a:bodyPr anchor="t"/>
          <a:lstStyle>
            <a:lvl1pPr>
              <a:spcAft>
                <a:spcPts val="600"/>
              </a:spcAft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D5DF20A0-1CDA-FD4B-A4F7-F41929E599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5971" y="1114227"/>
            <a:ext cx="5453457" cy="538993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2000" b="1" spc="30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HEADLINE COPY</a:t>
            </a:r>
          </a:p>
        </p:txBody>
      </p:sp>
      <p:sp>
        <p:nvSpPr>
          <p:cNvPr id="34" name="Text Placeholder 32">
            <a:extLst>
              <a:ext uri="{FF2B5EF4-FFF2-40B4-BE49-F238E27FC236}">
                <a16:creationId xmlns:a16="http://schemas.microsoft.com/office/drawing/2014/main" id="{E6115007-1A8D-FF46-AA26-55DAC750C1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8850" y="1707273"/>
            <a:ext cx="5453456" cy="413576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1800" b="1" spc="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SUBHEADER</a:t>
            </a:r>
          </a:p>
        </p:txBody>
      </p:sp>
      <p:sp>
        <p:nvSpPr>
          <p:cNvPr id="35" name="Text Placeholder 32">
            <a:extLst>
              <a:ext uri="{FF2B5EF4-FFF2-40B4-BE49-F238E27FC236}">
                <a16:creationId xmlns:a16="http://schemas.microsoft.com/office/drawing/2014/main" id="{FB9C1BDF-19DC-0E4B-9F3A-F13C5A20AD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8850" y="2146607"/>
            <a:ext cx="5440578" cy="1384995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1600" b="0" spc="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Copy</a:t>
            </a:r>
          </a:p>
        </p:txBody>
      </p:sp>
      <p:sp>
        <p:nvSpPr>
          <p:cNvPr id="40" name="Text Placeholder 32">
            <a:extLst>
              <a:ext uri="{FF2B5EF4-FFF2-40B4-BE49-F238E27FC236}">
                <a16:creationId xmlns:a16="http://schemas.microsoft.com/office/drawing/2014/main" id="{FC911E9A-5550-334D-B555-07EAB555B6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8850" y="3995772"/>
            <a:ext cx="5369370" cy="413576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1800" b="1" spc="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SUBHEADER</a:t>
            </a:r>
          </a:p>
        </p:txBody>
      </p:sp>
      <p:sp>
        <p:nvSpPr>
          <p:cNvPr id="41" name="Text Placeholder 32">
            <a:extLst>
              <a:ext uri="{FF2B5EF4-FFF2-40B4-BE49-F238E27FC236}">
                <a16:creationId xmlns:a16="http://schemas.microsoft.com/office/drawing/2014/main" id="{54A11813-EA7F-0541-B566-92731CB779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8850" y="4435106"/>
            <a:ext cx="5369370" cy="1384995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1600" b="0" spc="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Copy</a:t>
            </a:r>
          </a:p>
        </p:txBody>
      </p:sp>
      <p:sp>
        <p:nvSpPr>
          <p:cNvPr id="43" name="Text Placeholder 32">
            <a:extLst>
              <a:ext uri="{FF2B5EF4-FFF2-40B4-BE49-F238E27FC236}">
                <a16:creationId xmlns:a16="http://schemas.microsoft.com/office/drawing/2014/main" id="{8DA707EC-782B-E841-A0D8-4C5522457E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18374" y="1707273"/>
            <a:ext cx="5258806" cy="413576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1800" b="1" spc="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SUBHEADER</a:t>
            </a:r>
          </a:p>
        </p:txBody>
      </p:sp>
      <p:sp>
        <p:nvSpPr>
          <p:cNvPr id="44" name="Text Placeholder 32">
            <a:extLst>
              <a:ext uri="{FF2B5EF4-FFF2-40B4-BE49-F238E27FC236}">
                <a16:creationId xmlns:a16="http://schemas.microsoft.com/office/drawing/2014/main" id="{6830F74B-D6DF-E248-9601-84DCD519BB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18373" y="2146607"/>
            <a:ext cx="5245927" cy="1384995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1600" b="0" spc="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Copy</a:t>
            </a:r>
          </a:p>
        </p:txBody>
      </p:sp>
      <p:sp>
        <p:nvSpPr>
          <p:cNvPr id="45" name="Text Placeholder 32">
            <a:extLst>
              <a:ext uri="{FF2B5EF4-FFF2-40B4-BE49-F238E27FC236}">
                <a16:creationId xmlns:a16="http://schemas.microsoft.com/office/drawing/2014/main" id="{61C9031A-F8B4-7C42-9F14-14886E3BBE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05495" y="1114227"/>
            <a:ext cx="5258806" cy="538993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2000" b="1" spc="30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HEADLINE COPY</a:t>
            </a:r>
          </a:p>
        </p:txBody>
      </p:sp>
      <p:sp>
        <p:nvSpPr>
          <p:cNvPr id="46" name="Text Placeholder 32">
            <a:extLst>
              <a:ext uri="{FF2B5EF4-FFF2-40B4-BE49-F238E27FC236}">
                <a16:creationId xmlns:a16="http://schemas.microsoft.com/office/drawing/2014/main" id="{A98405FA-6853-B842-B9DE-AEB4F7AC14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8374" y="3995772"/>
            <a:ext cx="5258806" cy="413576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1800" b="1" spc="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SUBHEADER</a:t>
            </a:r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A8870227-E86F-6044-B99E-9537DEF43B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18373" y="4435106"/>
            <a:ext cx="5245927" cy="1384995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1600" b="0" spc="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Copy</a:t>
            </a:r>
          </a:p>
        </p:txBody>
      </p:sp>
      <p:sp>
        <p:nvSpPr>
          <p:cNvPr id="15" name="Slide Number Placeholder 8">
            <a:extLst>
              <a:ext uri="{FF2B5EF4-FFF2-40B4-BE49-F238E27FC236}">
                <a16:creationId xmlns:a16="http://schemas.microsoft.com/office/drawing/2014/main" id="{F2774B60-F02D-6642-B61B-CA31D6735D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458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umn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29">
            <a:extLst>
              <a:ext uri="{FF2B5EF4-FFF2-40B4-BE49-F238E27FC236}">
                <a16:creationId xmlns:a16="http://schemas.microsoft.com/office/drawing/2014/main" id="{6A115BC4-AC45-9648-896B-69AB5021007C}"/>
              </a:ext>
            </a:extLst>
          </p:cNvPr>
          <p:cNvSpPr/>
          <p:nvPr userDrawn="1"/>
        </p:nvSpPr>
        <p:spPr>
          <a:xfrm rot="5400000">
            <a:off x="6753682" y="-1215337"/>
            <a:ext cx="4222981" cy="6653655"/>
          </a:xfrm>
          <a:custGeom>
            <a:avLst/>
            <a:gdLst>
              <a:gd name="connsiteX0" fmla="*/ 0 w 4222981"/>
              <a:gd name="connsiteY0" fmla="*/ 6641969 h 6653655"/>
              <a:gd name="connsiteX1" fmla="*/ 0 w 4222981"/>
              <a:gd name="connsiteY1" fmla="*/ 0 h 6653655"/>
              <a:gd name="connsiteX2" fmla="*/ 4222981 w 4222981"/>
              <a:gd name="connsiteY2" fmla="*/ 0 h 6653655"/>
              <a:gd name="connsiteX3" fmla="*/ 4222587 w 4222981"/>
              <a:gd name="connsiteY3" fmla="*/ 2489 h 6653655"/>
              <a:gd name="connsiteX4" fmla="*/ 1157575 w 4222981"/>
              <a:gd name="connsiteY4" fmla="*/ 2441411 h 6653655"/>
              <a:gd name="connsiteX5" fmla="*/ 27461 w 4222981"/>
              <a:gd name="connsiteY5" fmla="*/ 6653078 h 6653655"/>
              <a:gd name="connsiteX6" fmla="*/ 0 w 4222981"/>
              <a:gd name="connsiteY6" fmla="*/ 6641969 h 6653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2981" h="6653655">
                <a:moveTo>
                  <a:pt x="0" y="6641969"/>
                </a:moveTo>
                <a:lnTo>
                  <a:pt x="0" y="0"/>
                </a:lnTo>
                <a:lnTo>
                  <a:pt x="4222981" y="0"/>
                </a:lnTo>
                <a:lnTo>
                  <a:pt x="4222587" y="2489"/>
                </a:lnTo>
                <a:cubicBezTo>
                  <a:pt x="4111473" y="121505"/>
                  <a:pt x="1505636" y="642868"/>
                  <a:pt x="1157575" y="2441411"/>
                </a:cubicBezTo>
                <a:cubicBezTo>
                  <a:pt x="770840" y="4439792"/>
                  <a:pt x="327713" y="6695074"/>
                  <a:pt x="27461" y="6653078"/>
                </a:cubicBezTo>
                <a:lnTo>
                  <a:pt x="0" y="66419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27000" dist="38100" dir="5400000" algn="ctr" rotWithShape="0">
              <a:schemeClr val="tx2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5F14FC62-348C-4C4B-879C-4F77A1B364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13345" y="365125"/>
            <a:ext cx="1250955" cy="479533"/>
          </a:xfrm>
          <a:prstGeom prst="rect">
            <a:avLst/>
          </a:prstGeom>
        </p:spPr>
      </p:pic>
      <p:sp>
        <p:nvSpPr>
          <p:cNvPr id="36" name="Freeform 35">
            <a:extLst>
              <a:ext uri="{FF2B5EF4-FFF2-40B4-BE49-F238E27FC236}">
                <a16:creationId xmlns:a16="http://schemas.microsoft.com/office/drawing/2014/main" id="{EC4D1B96-3D10-104A-B3DA-B3CBFCE6BE7A}"/>
              </a:ext>
            </a:extLst>
          </p:cNvPr>
          <p:cNvSpPr/>
          <p:nvPr userDrawn="1"/>
        </p:nvSpPr>
        <p:spPr>
          <a:xfrm rot="16200000">
            <a:off x="1670795" y="3027327"/>
            <a:ext cx="2159876" cy="5501467"/>
          </a:xfrm>
          <a:custGeom>
            <a:avLst/>
            <a:gdLst>
              <a:gd name="connsiteX0" fmla="*/ 0 w 4222981"/>
              <a:gd name="connsiteY0" fmla="*/ 6641969 h 6654045"/>
              <a:gd name="connsiteX1" fmla="*/ 0 w 4222981"/>
              <a:gd name="connsiteY1" fmla="*/ 0 h 6654045"/>
              <a:gd name="connsiteX2" fmla="*/ 4222981 w 4222981"/>
              <a:gd name="connsiteY2" fmla="*/ 0 h 6654045"/>
              <a:gd name="connsiteX3" fmla="*/ 4222587 w 4222981"/>
              <a:gd name="connsiteY3" fmla="*/ 2489 h 6654045"/>
              <a:gd name="connsiteX4" fmla="*/ 3014847 w 4222981"/>
              <a:gd name="connsiteY4" fmla="*/ 3481060 h 6654045"/>
              <a:gd name="connsiteX5" fmla="*/ 27461 w 4222981"/>
              <a:gd name="connsiteY5" fmla="*/ 6653078 h 6654045"/>
              <a:gd name="connsiteX6" fmla="*/ 0 w 4222981"/>
              <a:gd name="connsiteY6" fmla="*/ 6641969 h 6654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2981" h="6654045">
                <a:moveTo>
                  <a:pt x="0" y="6641969"/>
                </a:moveTo>
                <a:lnTo>
                  <a:pt x="0" y="0"/>
                </a:lnTo>
                <a:lnTo>
                  <a:pt x="4222981" y="0"/>
                </a:lnTo>
                <a:cubicBezTo>
                  <a:pt x="4222850" y="830"/>
                  <a:pt x="4222718" y="1659"/>
                  <a:pt x="4222587" y="2489"/>
                </a:cubicBezTo>
                <a:cubicBezTo>
                  <a:pt x="4111473" y="121505"/>
                  <a:pt x="2662883" y="1226085"/>
                  <a:pt x="3014847" y="3481060"/>
                </a:cubicBezTo>
                <a:cubicBezTo>
                  <a:pt x="3309079" y="5366158"/>
                  <a:pt x="327713" y="6695074"/>
                  <a:pt x="27461" y="6653078"/>
                </a:cubicBezTo>
                <a:lnTo>
                  <a:pt x="0" y="66419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27000" dist="38100" dir="18900000" algn="bl" rotWithShape="0">
              <a:schemeClr val="tx2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7" name="Text Placeholder 32">
            <a:extLst>
              <a:ext uri="{FF2B5EF4-FFF2-40B4-BE49-F238E27FC236}">
                <a16:creationId xmlns:a16="http://schemas.microsoft.com/office/drawing/2014/main" id="{6F618209-7319-184B-9330-FE5C9899D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3878" y="1218968"/>
            <a:ext cx="4867723" cy="538993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2400" b="1" spc="300">
                <a:solidFill>
                  <a:schemeClr val="accent4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780655F-233B-104D-AB2C-DC3E2CC6CD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878" y="1812014"/>
            <a:ext cx="4867722" cy="4436386"/>
          </a:xfrm>
        </p:spPr>
        <p:txBody>
          <a:bodyPr anchor="t">
            <a:normAutofit/>
          </a:bodyPr>
          <a:lstStyle>
            <a:lvl1pPr algn="l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defRPr sz="2000" b="1" spc="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Headline Copy</a:t>
            </a:r>
          </a:p>
        </p:txBody>
      </p:sp>
      <p:sp>
        <p:nvSpPr>
          <p:cNvPr id="41" name="Text Placeholder 32">
            <a:extLst>
              <a:ext uri="{FF2B5EF4-FFF2-40B4-BE49-F238E27FC236}">
                <a16:creationId xmlns:a16="http://schemas.microsoft.com/office/drawing/2014/main" id="{46D3C9DB-51C0-EE45-A495-D059B5AF6C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8858" y="1218968"/>
            <a:ext cx="4697243" cy="538993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2400" b="1" spc="300">
                <a:solidFill>
                  <a:schemeClr val="accent4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Text Placeholder 32">
            <a:extLst>
              <a:ext uri="{FF2B5EF4-FFF2-40B4-BE49-F238E27FC236}">
                <a16:creationId xmlns:a16="http://schemas.microsoft.com/office/drawing/2014/main" id="{0C336458-66A7-D545-B342-99D3A0EC48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08858" y="1812014"/>
            <a:ext cx="4697242" cy="4436386"/>
          </a:xfrm>
        </p:spPr>
        <p:txBody>
          <a:bodyPr anchor="t">
            <a:normAutofit/>
          </a:bodyPr>
          <a:lstStyle>
            <a:lvl1pPr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defRPr sz="2000" b="1" spc="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Headline Cop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E6C6B0-A601-8049-B940-4DA26B2A94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2251065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Head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2">
            <a:extLst>
              <a:ext uri="{FF2B5EF4-FFF2-40B4-BE49-F238E27FC236}">
                <a16:creationId xmlns:a16="http://schemas.microsoft.com/office/drawing/2014/main" id="{16F13970-574E-254F-97A8-CE705AB10F4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06562" y="172552"/>
            <a:ext cx="7978876" cy="6512895"/>
          </a:xfrm>
          <a:custGeom>
            <a:avLst/>
            <a:gdLst>
              <a:gd name="connsiteX0" fmla="*/ 122147 w 5449680"/>
              <a:gd name="connsiteY0" fmla="*/ 2677415 h 5382558"/>
              <a:gd name="connsiteX1" fmla="*/ 2785179 w 5449680"/>
              <a:gd name="connsiteY1" fmla="*/ 13590 h 5382558"/>
              <a:gd name="connsiteX2" fmla="*/ 5448210 w 5449680"/>
              <a:gd name="connsiteY2" fmla="*/ 2677415 h 5382558"/>
              <a:gd name="connsiteX3" fmla="*/ 2785179 w 5449680"/>
              <a:gd name="connsiteY3" fmla="*/ 5341240 h 5382558"/>
              <a:gd name="connsiteX4" fmla="*/ 122147 w 5449680"/>
              <a:gd name="connsiteY4" fmla="*/ 2677415 h 5382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9680" h="5382558">
                <a:moveTo>
                  <a:pt x="122147" y="2677415"/>
                </a:moveTo>
                <a:cubicBezTo>
                  <a:pt x="777596" y="1165359"/>
                  <a:pt x="968587" y="-148638"/>
                  <a:pt x="2785179" y="13590"/>
                </a:cubicBezTo>
                <a:cubicBezTo>
                  <a:pt x="4601771" y="175818"/>
                  <a:pt x="5392459" y="323530"/>
                  <a:pt x="5448210" y="2677415"/>
                </a:cubicBezTo>
                <a:cubicBezTo>
                  <a:pt x="5503961" y="5031300"/>
                  <a:pt x="3963142" y="5033869"/>
                  <a:pt x="2785179" y="5341240"/>
                </a:cubicBezTo>
                <a:cubicBezTo>
                  <a:pt x="1607216" y="5648611"/>
                  <a:pt x="-533302" y="4189471"/>
                  <a:pt x="122147" y="2677415"/>
                </a:cubicBezTo>
                <a:close/>
              </a:path>
            </a:pathLst>
          </a:custGeom>
          <a:solidFill>
            <a:schemeClr val="tx2"/>
          </a:solidFill>
          <a:effectLst>
            <a:outerShdw blurRad="190500" algn="ctr" rotWithShape="0">
              <a:schemeClr val="tx2">
                <a:lumMod val="50000"/>
                <a:alpha val="50000"/>
              </a:schemeClr>
            </a:outerShdw>
          </a:effectLst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FC96BB4-5AB0-724B-BE61-FE9963B1BC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5247" y="601923"/>
            <a:ext cx="5360753" cy="4288731"/>
          </a:xfrm>
        </p:spPr>
        <p:txBody>
          <a:bodyPr anchor="t">
            <a:normAutofit/>
          </a:bodyPr>
          <a:lstStyle>
            <a:lvl1pPr algn="l">
              <a:defRPr sz="6000" b="1" spc="3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24F03AD8-487C-4B4D-B6D5-162683BD0BDA}"/>
              </a:ext>
            </a:extLst>
          </p:cNvPr>
          <p:cNvSpPr txBox="1"/>
          <p:nvPr userDrawn="1"/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© Sysco 2021  |  </a:t>
            </a:r>
            <a:fld id="{A3C28359-B5FC-4100-A3A6-009569C148F1}" type="slidenum"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‹N°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6673F8A-5EC2-6D45-9452-75D829A5D9B0}"/>
              </a:ext>
            </a:extLst>
          </p:cNvPr>
          <p:cNvGrpSpPr/>
          <p:nvPr userDrawn="1"/>
        </p:nvGrpSpPr>
        <p:grpSpPr>
          <a:xfrm>
            <a:off x="12594070" y="2514600"/>
            <a:ext cx="1972476" cy="1812102"/>
            <a:chOff x="5660044" y="-2683367"/>
            <a:chExt cx="1972476" cy="181210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7FD495C7-B55A-324F-934C-8FC0AD572D29}"/>
                </a:ext>
              </a:extLst>
            </p:cNvPr>
            <p:cNvSpPr/>
            <p:nvPr userDrawn="1"/>
          </p:nvSpPr>
          <p:spPr>
            <a:xfrm>
              <a:off x="5660044" y="-2683367"/>
              <a:ext cx="1972476" cy="1812102"/>
            </a:xfrm>
            <a:custGeom>
              <a:avLst/>
              <a:gdLst>
                <a:gd name="connsiteX0" fmla="*/ 6240 w 1972476"/>
                <a:gd name="connsiteY0" fmla="*/ 922024 h 1812102"/>
                <a:gd name="connsiteX1" fmla="*/ 853185 w 1972476"/>
                <a:gd name="connsiteY1" fmla="*/ 129 h 1812102"/>
                <a:gd name="connsiteX2" fmla="*/ 1969952 w 1972476"/>
                <a:gd name="connsiteY2" fmla="*/ 862063 h 1812102"/>
                <a:gd name="connsiteX3" fmla="*/ 1063047 w 1972476"/>
                <a:gd name="connsiteY3" fmla="*/ 1768968 h 1812102"/>
                <a:gd name="connsiteX4" fmla="*/ 6240 w 1972476"/>
                <a:gd name="connsiteY4" fmla="*/ 922024 h 1812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2476" h="1812102">
                  <a:moveTo>
                    <a:pt x="6240" y="922024"/>
                  </a:moveTo>
                  <a:cubicBezTo>
                    <a:pt x="-28737" y="627218"/>
                    <a:pt x="61205" y="10122"/>
                    <a:pt x="853185" y="129"/>
                  </a:cubicBezTo>
                  <a:cubicBezTo>
                    <a:pt x="1645165" y="-9864"/>
                    <a:pt x="1934975" y="567257"/>
                    <a:pt x="1969952" y="862063"/>
                  </a:cubicBezTo>
                  <a:cubicBezTo>
                    <a:pt x="2004929" y="1156869"/>
                    <a:pt x="1675145" y="1534122"/>
                    <a:pt x="1063047" y="1768968"/>
                  </a:cubicBezTo>
                  <a:cubicBezTo>
                    <a:pt x="450949" y="2003814"/>
                    <a:pt x="41217" y="1216830"/>
                    <a:pt x="6240" y="92202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5">
              <a:extLst>
                <a:ext uri="{FF2B5EF4-FFF2-40B4-BE49-F238E27FC236}">
                  <a16:creationId xmlns:a16="http://schemas.microsoft.com/office/drawing/2014/main" id="{7B44B07A-7C08-2B4A-B1EC-CCA01E68C44A}"/>
                </a:ext>
              </a:extLst>
            </p:cNvPr>
            <p:cNvSpPr/>
            <p:nvPr userDrawn="1"/>
          </p:nvSpPr>
          <p:spPr>
            <a:xfrm>
              <a:off x="5905307" y="-2458046"/>
              <a:ext cx="1481950" cy="1361459"/>
            </a:xfrm>
            <a:custGeom>
              <a:avLst/>
              <a:gdLst>
                <a:gd name="connsiteX0" fmla="*/ 6240 w 1972476"/>
                <a:gd name="connsiteY0" fmla="*/ 922024 h 1812102"/>
                <a:gd name="connsiteX1" fmla="*/ 853185 w 1972476"/>
                <a:gd name="connsiteY1" fmla="*/ 129 h 1812102"/>
                <a:gd name="connsiteX2" fmla="*/ 1969952 w 1972476"/>
                <a:gd name="connsiteY2" fmla="*/ 862063 h 1812102"/>
                <a:gd name="connsiteX3" fmla="*/ 1063047 w 1972476"/>
                <a:gd name="connsiteY3" fmla="*/ 1768968 h 1812102"/>
                <a:gd name="connsiteX4" fmla="*/ 6240 w 1972476"/>
                <a:gd name="connsiteY4" fmla="*/ 922024 h 1812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2476" h="1812102">
                  <a:moveTo>
                    <a:pt x="6240" y="922024"/>
                  </a:moveTo>
                  <a:cubicBezTo>
                    <a:pt x="-28737" y="627218"/>
                    <a:pt x="61205" y="10122"/>
                    <a:pt x="853185" y="129"/>
                  </a:cubicBezTo>
                  <a:cubicBezTo>
                    <a:pt x="1645165" y="-9864"/>
                    <a:pt x="1934975" y="567257"/>
                    <a:pt x="1969952" y="862063"/>
                  </a:cubicBezTo>
                  <a:cubicBezTo>
                    <a:pt x="2004929" y="1156869"/>
                    <a:pt x="1675145" y="1534122"/>
                    <a:pt x="1063047" y="1768968"/>
                  </a:cubicBezTo>
                  <a:cubicBezTo>
                    <a:pt x="450949" y="2003814"/>
                    <a:pt x="41217" y="1216830"/>
                    <a:pt x="6240" y="922024"/>
                  </a:cubicBezTo>
                  <a:close/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riangle 10">
              <a:extLst>
                <a:ext uri="{FF2B5EF4-FFF2-40B4-BE49-F238E27FC236}">
                  <a16:creationId xmlns:a16="http://schemas.microsoft.com/office/drawing/2014/main" id="{CA192D43-DB43-B347-B247-19096253C4F6}"/>
                </a:ext>
              </a:extLst>
            </p:cNvPr>
            <p:cNvSpPr/>
            <p:nvPr userDrawn="1"/>
          </p:nvSpPr>
          <p:spPr>
            <a:xfrm rot="5400000">
              <a:off x="6327741" y="-2084615"/>
              <a:ext cx="667063" cy="584616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C692D20-59DC-274B-B23C-68E4B82F2232}"/>
              </a:ext>
            </a:extLst>
          </p:cNvPr>
          <p:cNvSpPr/>
          <p:nvPr userDrawn="1"/>
        </p:nvSpPr>
        <p:spPr>
          <a:xfrm>
            <a:off x="12594070" y="4538364"/>
            <a:ext cx="6102096" cy="915314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fr-FR" sz="1800" b="0" i="0" strike="noStrike" cap="none" spc="0" baseline="0">
                <a:solidFill>
                  <a:srgbClr val="6AB244"/>
                </a:solidFill>
                <a:effectLst/>
                <a:latin typeface="Calibri"/>
                <a:ea typeface="Calibri"/>
                <a:cs typeface="Calibri"/>
              </a:rPr>
              <a:t>Veuillez copier le bouton de lecture de la disposition principale vers la diapositive et ajouter l’hyperlien vidéo (clic droit &gt; Lien...)</a:t>
            </a:r>
          </a:p>
        </p:txBody>
      </p:sp>
    </p:spTree>
    <p:extLst>
      <p:ext uri="{BB962C8B-B14F-4D97-AF65-F5344CB8AC3E}">
        <p14:creationId xmlns:p14="http://schemas.microsoft.com/office/powerpoint/2010/main" val="162332961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Double Header &amp; Cop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">
            <a:extLst>
              <a:ext uri="{FF2B5EF4-FFF2-40B4-BE49-F238E27FC236}">
                <a16:creationId xmlns:a16="http://schemas.microsoft.com/office/drawing/2014/main" id="{A5E78290-0A3D-9541-9B2E-F24E293233B6}"/>
              </a:ext>
            </a:extLst>
          </p:cNvPr>
          <p:cNvSpPr/>
          <p:nvPr userDrawn="1"/>
        </p:nvSpPr>
        <p:spPr>
          <a:xfrm>
            <a:off x="-24823" y="-3175"/>
            <a:ext cx="12210568" cy="6861175"/>
          </a:xfrm>
          <a:custGeom>
            <a:avLst/>
            <a:gdLst>
              <a:gd name="connsiteX0" fmla="*/ 18850 w 21644"/>
              <a:gd name="connsiteY0" fmla="*/ 0 h 21600"/>
              <a:gd name="connsiteX1" fmla="*/ 16028 w 21644"/>
              <a:gd name="connsiteY1" fmla="*/ 3905 h 21600"/>
              <a:gd name="connsiteX2" fmla="*/ 13137 w 21644"/>
              <a:gd name="connsiteY2" fmla="*/ 13805 h 21600"/>
              <a:gd name="connsiteX3" fmla="*/ 0 w 21644"/>
              <a:gd name="connsiteY3" fmla="*/ 16765 h 21600"/>
              <a:gd name="connsiteX4" fmla="*/ 44 w 21644"/>
              <a:gd name="connsiteY4" fmla="*/ 21581 h 21600"/>
              <a:gd name="connsiteX5" fmla="*/ 21637 w 21644"/>
              <a:gd name="connsiteY5" fmla="*/ 21594 h 21600"/>
              <a:gd name="connsiteX6" fmla="*/ 21641 w 21644"/>
              <a:gd name="connsiteY6" fmla="*/ 21597 h 21600"/>
              <a:gd name="connsiteX7" fmla="*/ 21644 w 21644"/>
              <a:gd name="connsiteY7" fmla="*/ 21600 h 21600"/>
              <a:gd name="connsiteX8" fmla="*/ 21644 w 21644"/>
              <a:gd name="connsiteY8" fmla="*/ 0 h 21600"/>
              <a:gd name="connsiteX9" fmla="*/ 18850 w 21644"/>
              <a:gd name="connsiteY9" fmla="*/ 0 h 21600"/>
              <a:gd name="connsiteX10" fmla="*/ 18806 w 21600"/>
              <a:gd name="connsiteY10" fmla="*/ 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644" h="21600" extrusionOk="0">
                <a:moveTo>
                  <a:pt x="18850" y="0"/>
                </a:moveTo>
                <a:cubicBezTo>
                  <a:pt x="17831" y="462"/>
                  <a:pt x="16742" y="1265"/>
                  <a:pt x="16028" y="3905"/>
                </a:cubicBezTo>
                <a:cubicBezTo>
                  <a:pt x="15314" y="6545"/>
                  <a:pt x="15808" y="11662"/>
                  <a:pt x="13137" y="13805"/>
                </a:cubicBezTo>
                <a:cubicBezTo>
                  <a:pt x="10466" y="15948"/>
                  <a:pt x="1137" y="8802"/>
                  <a:pt x="0" y="16765"/>
                </a:cubicBezTo>
                <a:cubicBezTo>
                  <a:pt x="-1" y="17905"/>
                  <a:pt x="45" y="20441"/>
                  <a:pt x="44" y="21581"/>
                </a:cubicBezTo>
                <a:lnTo>
                  <a:pt x="21637" y="21594"/>
                </a:lnTo>
                <a:cubicBezTo>
                  <a:pt x="21638" y="21595"/>
                  <a:pt x="21640" y="21596"/>
                  <a:pt x="21641" y="21597"/>
                </a:cubicBezTo>
                <a:lnTo>
                  <a:pt x="21644" y="21600"/>
                </a:lnTo>
                <a:lnTo>
                  <a:pt x="21644" y="0"/>
                </a:lnTo>
                <a:lnTo>
                  <a:pt x="18850" y="0"/>
                </a:lnTo>
                <a:close/>
              </a:path>
            </a:pathLst>
          </a:custGeom>
          <a:solidFill>
            <a:schemeClr val="bg2"/>
          </a:solidFill>
          <a:ln w="12700">
            <a:miter lim="400000"/>
          </a:ln>
          <a:effectLst>
            <a:outerShdw blurRad="127000" dist="38100" dir="13500000" algn="br" rotWithShape="0">
              <a:schemeClr val="tx2">
                <a:lumMod val="75000"/>
                <a:alpha val="50000"/>
              </a:schemeClr>
            </a:outerShdw>
          </a:effectLst>
        </p:spPr>
        <p:txBody>
          <a:bodyPr lIns="50800" tIns="50800" rIns="50800" bIns="50800" anchor="ctr"/>
          <a:lstStyle/>
          <a:p>
            <a:pPr algn="ctr" eaLnBrk="1" fontAlgn="auto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+mn-lt"/>
              <a:ea typeface="+mn-ea"/>
              <a:cs typeface="+mn-cs"/>
              <a:sym typeface="Helvetica Neue Light"/>
            </a:endParaRPr>
          </a:p>
        </p:txBody>
      </p:sp>
      <p:sp>
        <p:nvSpPr>
          <p:cNvPr id="7" name="Text Placeholder 32">
            <a:extLst>
              <a:ext uri="{FF2B5EF4-FFF2-40B4-BE49-F238E27FC236}">
                <a16:creationId xmlns:a16="http://schemas.microsoft.com/office/drawing/2014/main" id="{3F00CF82-11FA-9D40-AA48-2D62362B6A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000" y="544598"/>
            <a:ext cx="9438600" cy="702400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4000" b="1" spc="300">
                <a:solidFill>
                  <a:schemeClr val="accent4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8" name="Text Placeholder 32">
            <a:extLst>
              <a:ext uri="{FF2B5EF4-FFF2-40B4-BE49-F238E27FC236}">
                <a16:creationId xmlns:a16="http://schemas.microsoft.com/office/drawing/2014/main" id="{2C46D393-67F9-5E40-B3CC-D29B4F220F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5000" y="1157731"/>
            <a:ext cx="5412931" cy="2889833"/>
          </a:xfrm>
        </p:spPr>
        <p:txBody>
          <a:bodyPr anchor="t">
            <a:normAutofit/>
          </a:bodyPr>
          <a:lstStyle>
            <a:lvl1pPr algn="l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defRPr sz="1800" b="1" spc="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Headline Copy</a:t>
            </a:r>
          </a:p>
        </p:txBody>
      </p:sp>
      <p:sp>
        <p:nvSpPr>
          <p:cNvPr id="9" name="Shape">
            <a:extLst>
              <a:ext uri="{FF2B5EF4-FFF2-40B4-BE49-F238E27FC236}">
                <a16:creationId xmlns:a16="http://schemas.microsoft.com/office/drawing/2014/main" id="{BE429DD6-0CAC-1343-BB4D-E98A12B20325}"/>
              </a:ext>
            </a:extLst>
          </p:cNvPr>
          <p:cNvSpPr/>
          <p:nvPr userDrawn="1"/>
        </p:nvSpPr>
        <p:spPr bwMode="auto">
          <a:xfrm rot="10800000">
            <a:off x="6157712" y="1157732"/>
            <a:ext cx="5321542" cy="4959350"/>
          </a:xfrm>
          <a:custGeom>
            <a:avLst/>
            <a:gdLst>
              <a:gd name="T0" fmla="*/ 6146445 w 21600"/>
              <a:gd name="T1" fmla="*/ 5727383 h 21560"/>
              <a:gd name="T2" fmla="*/ 6146445 w 21600"/>
              <a:gd name="T3" fmla="*/ 5727383 h 21560"/>
              <a:gd name="T4" fmla="*/ 6146445 w 21600"/>
              <a:gd name="T5" fmla="*/ 5727383 h 21560"/>
              <a:gd name="T6" fmla="*/ 6146445 w 21600"/>
              <a:gd name="T7" fmla="*/ 5727383 h 2156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560" extrusionOk="0">
                <a:moveTo>
                  <a:pt x="10614" y="2"/>
                </a:moveTo>
                <a:cubicBezTo>
                  <a:pt x="8214" y="42"/>
                  <a:pt x="5807" y="840"/>
                  <a:pt x="3797" y="2490"/>
                </a:cubicBezTo>
                <a:cubicBezTo>
                  <a:pt x="2726" y="3370"/>
                  <a:pt x="1830" y="4470"/>
                  <a:pt x="1160" y="5725"/>
                </a:cubicBezTo>
                <a:cubicBezTo>
                  <a:pt x="387" y="7027"/>
                  <a:pt x="0" y="8510"/>
                  <a:pt x="0" y="9992"/>
                </a:cubicBezTo>
                <a:cubicBezTo>
                  <a:pt x="0" y="11475"/>
                  <a:pt x="387" y="12957"/>
                  <a:pt x="1160" y="14259"/>
                </a:cubicBezTo>
                <a:cubicBezTo>
                  <a:pt x="1948" y="15512"/>
                  <a:pt x="3019" y="16659"/>
                  <a:pt x="3797" y="17493"/>
                </a:cubicBezTo>
                <a:cubicBezTo>
                  <a:pt x="4575" y="18326"/>
                  <a:pt x="5646" y="19473"/>
                  <a:pt x="6816" y="20317"/>
                </a:cubicBezTo>
                <a:cubicBezTo>
                  <a:pt x="8031" y="21146"/>
                  <a:pt x="9415" y="21560"/>
                  <a:pt x="10799" y="21560"/>
                </a:cubicBezTo>
                <a:cubicBezTo>
                  <a:pt x="12183" y="21560"/>
                  <a:pt x="13567" y="21146"/>
                  <a:pt x="14783" y="20317"/>
                </a:cubicBezTo>
                <a:cubicBezTo>
                  <a:pt x="15952" y="19473"/>
                  <a:pt x="17025" y="18326"/>
                  <a:pt x="17803" y="17493"/>
                </a:cubicBezTo>
                <a:cubicBezTo>
                  <a:pt x="18581" y="16659"/>
                  <a:pt x="19652" y="15512"/>
                  <a:pt x="20440" y="14259"/>
                </a:cubicBezTo>
                <a:cubicBezTo>
                  <a:pt x="21213" y="12957"/>
                  <a:pt x="21600" y="11475"/>
                  <a:pt x="21600" y="9992"/>
                </a:cubicBezTo>
                <a:cubicBezTo>
                  <a:pt x="21600" y="8510"/>
                  <a:pt x="21213" y="7027"/>
                  <a:pt x="20440" y="5725"/>
                </a:cubicBezTo>
                <a:cubicBezTo>
                  <a:pt x="19770" y="4470"/>
                  <a:pt x="18874" y="3370"/>
                  <a:pt x="17803" y="2490"/>
                </a:cubicBezTo>
                <a:cubicBezTo>
                  <a:pt x="15690" y="754"/>
                  <a:pt x="13139" y="-40"/>
                  <a:pt x="10614" y="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27000" algn="ctr" rotWithShape="0">
              <a:schemeClr val="tx2">
                <a:lumMod val="75000"/>
                <a:alpha val="50000"/>
              </a:schemeClr>
            </a:outerShdw>
          </a:effectLst>
        </p:spPr>
        <p:txBody>
          <a:bodyPr lIns="50800" tIns="50800" rIns="50800" bIns="50800" anchor="ctr"/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0" name="Freeform: Shape 5">
            <a:extLst>
              <a:ext uri="{FF2B5EF4-FFF2-40B4-BE49-F238E27FC236}">
                <a16:creationId xmlns:a16="http://schemas.microsoft.com/office/drawing/2014/main" id="{67BCCF43-2334-904A-8705-8F1661CE077C}"/>
              </a:ext>
            </a:extLst>
          </p:cNvPr>
          <p:cNvSpPr>
            <a:spLocks noGrp="1"/>
          </p:cNvSpPr>
          <p:nvPr>
            <p:ph type="pic" sz="half" idx="13"/>
          </p:nvPr>
        </p:nvSpPr>
        <p:spPr>
          <a:xfrm>
            <a:off x="6474941" y="1568660"/>
            <a:ext cx="4687085" cy="4367438"/>
          </a:xfrm>
          <a:custGeom>
            <a:avLst/>
            <a:gdLst>
              <a:gd name="connsiteX0" fmla="*/ 5320025 w 10826505"/>
              <a:gd name="connsiteY0" fmla="*/ 740 h 10088166"/>
              <a:gd name="connsiteX1" fmla="*/ 8923347 w 10826505"/>
              <a:gd name="connsiteY1" fmla="*/ 1164926 h 10088166"/>
              <a:gd name="connsiteX2" fmla="*/ 10245083 w 10826505"/>
              <a:gd name="connsiteY2" fmla="*/ 2678648 h 10088166"/>
              <a:gd name="connsiteX3" fmla="*/ 10826505 w 10826505"/>
              <a:gd name="connsiteY3" fmla="*/ 4675264 h 10088166"/>
              <a:gd name="connsiteX4" fmla="*/ 10245083 w 10826505"/>
              <a:gd name="connsiteY4" fmla="*/ 6671880 h 10088166"/>
              <a:gd name="connsiteX5" fmla="*/ 8923347 w 10826505"/>
              <a:gd name="connsiteY5" fmla="*/ 8185134 h 10088166"/>
              <a:gd name="connsiteX6" fmla="*/ 7409641 w 10826505"/>
              <a:gd name="connsiteY6" fmla="*/ 9506541 h 10088166"/>
              <a:gd name="connsiteX7" fmla="*/ 5412753 w 10826505"/>
              <a:gd name="connsiteY7" fmla="*/ 10088166 h 10088166"/>
              <a:gd name="connsiteX8" fmla="*/ 3416364 w 10826505"/>
              <a:gd name="connsiteY8" fmla="*/ 9506541 h 10088166"/>
              <a:gd name="connsiteX9" fmla="*/ 1903159 w 10826505"/>
              <a:gd name="connsiteY9" fmla="*/ 8185134 h 10088166"/>
              <a:gd name="connsiteX10" fmla="*/ 581423 w 10826505"/>
              <a:gd name="connsiteY10" fmla="*/ 6671880 h 10088166"/>
              <a:gd name="connsiteX11" fmla="*/ 0 w 10826505"/>
              <a:gd name="connsiteY11" fmla="*/ 4675264 h 10088166"/>
              <a:gd name="connsiteX12" fmla="*/ 581423 w 10826505"/>
              <a:gd name="connsiteY12" fmla="*/ 2678648 h 10088166"/>
              <a:gd name="connsiteX13" fmla="*/ 1903159 w 10826505"/>
              <a:gd name="connsiteY13" fmla="*/ 1164926 h 10088166"/>
              <a:gd name="connsiteX14" fmla="*/ 5320025 w 10826505"/>
              <a:gd name="connsiteY14" fmla="*/ 740 h 10088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826505" h="10088166">
                <a:moveTo>
                  <a:pt x="5320025" y="740"/>
                </a:moveTo>
                <a:cubicBezTo>
                  <a:pt x="6585623" y="-18913"/>
                  <a:pt x="7864253" y="352616"/>
                  <a:pt x="8923347" y="1164926"/>
                </a:cubicBezTo>
                <a:cubicBezTo>
                  <a:pt x="9460161" y="1576696"/>
                  <a:pt x="9909261" y="2091408"/>
                  <a:pt x="10245083" y="2678648"/>
                </a:cubicBezTo>
                <a:cubicBezTo>
                  <a:pt x="10632531" y="3287880"/>
                  <a:pt x="10826505" y="3981806"/>
                  <a:pt x="10826505" y="4675264"/>
                </a:cubicBezTo>
                <a:cubicBezTo>
                  <a:pt x="10826505" y="5369190"/>
                  <a:pt x="10632531" y="6062648"/>
                  <a:pt x="10245083" y="6671880"/>
                </a:cubicBezTo>
                <a:cubicBezTo>
                  <a:pt x="9850117" y="7258184"/>
                  <a:pt x="9313301" y="7794889"/>
                  <a:pt x="8923347" y="8185134"/>
                </a:cubicBezTo>
                <a:cubicBezTo>
                  <a:pt x="8533393" y="8574912"/>
                  <a:pt x="7995575" y="9111616"/>
                  <a:pt x="7409641" y="9506541"/>
                </a:cubicBezTo>
                <a:cubicBezTo>
                  <a:pt x="6800149" y="9894447"/>
                  <a:pt x="6106449" y="10088166"/>
                  <a:pt x="5412753" y="10088166"/>
                </a:cubicBezTo>
                <a:cubicBezTo>
                  <a:pt x="4719053" y="10088166"/>
                  <a:pt x="4025355" y="9894447"/>
                  <a:pt x="3416364" y="9506541"/>
                </a:cubicBezTo>
                <a:cubicBezTo>
                  <a:pt x="2829928" y="9111616"/>
                  <a:pt x="2293114" y="8574912"/>
                  <a:pt x="1903159" y="8185134"/>
                </a:cubicBezTo>
                <a:cubicBezTo>
                  <a:pt x="1513205" y="7794889"/>
                  <a:pt x="976390" y="7258184"/>
                  <a:pt x="581423" y="6671880"/>
                </a:cubicBezTo>
                <a:cubicBezTo>
                  <a:pt x="193975" y="6062648"/>
                  <a:pt x="0" y="5369190"/>
                  <a:pt x="0" y="4675264"/>
                </a:cubicBezTo>
                <a:cubicBezTo>
                  <a:pt x="0" y="3981806"/>
                  <a:pt x="193975" y="3287880"/>
                  <a:pt x="581423" y="2678648"/>
                </a:cubicBezTo>
                <a:cubicBezTo>
                  <a:pt x="917246" y="2091408"/>
                  <a:pt x="1366345" y="1576696"/>
                  <a:pt x="1903159" y="1164926"/>
                </a:cubicBezTo>
                <a:cubicBezTo>
                  <a:pt x="2910626" y="392857"/>
                  <a:pt x="4117080" y="19457"/>
                  <a:pt x="5320025" y="740"/>
                </a:cubicBezTo>
                <a:close/>
              </a:path>
            </a:pathLst>
          </a:custGeom>
          <a:pattFill prst="pct90">
            <a:fgClr>
              <a:schemeClr val="tx2"/>
            </a:fgClr>
            <a:bgClr>
              <a:schemeClr val="accent1"/>
            </a:bgClr>
          </a:pattFill>
        </p:spPr>
        <p:txBody>
          <a:bodyPr lIns="91439" tIns="45719" rIns="91439" bIns="45719">
            <a:noAutofit/>
          </a:bodyPr>
          <a:lstStyle/>
          <a:p>
            <a:pPr lvl="0"/>
            <a:r>
              <a:rPr lang="en-US" noProof="0">
                <a:sym typeface="Helvetica Neue Light"/>
              </a:rPr>
              <a:t>Click icon to add picture</a:t>
            </a:r>
            <a:endParaRPr noProof="0">
              <a:sym typeface="Helvetica Neue Light"/>
            </a:endParaRPr>
          </a:p>
        </p:txBody>
      </p:sp>
      <p:sp>
        <p:nvSpPr>
          <p:cNvPr id="11" name="Text Placeholder 32">
            <a:extLst>
              <a:ext uri="{FF2B5EF4-FFF2-40B4-BE49-F238E27FC236}">
                <a16:creationId xmlns:a16="http://schemas.microsoft.com/office/drawing/2014/main" id="{5032F442-EB9E-9045-B2C9-A396CB0781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8692" y="4358659"/>
            <a:ext cx="4824354" cy="413576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1800" b="1" spc="30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SUBHEADER</a:t>
            </a:r>
          </a:p>
        </p:txBody>
      </p:sp>
      <p:sp>
        <p:nvSpPr>
          <p:cNvPr id="12" name="Text Placeholder 32">
            <a:extLst>
              <a:ext uri="{FF2B5EF4-FFF2-40B4-BE49-F238E27FC236}">
                <a16:creationId xmlns:a16="http://schemas.microsoft.com/office/drawing/2014/main" id="{D87F2E22-8907-F647-9049-9D0D56F90B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8691" y="4797993"/>
            <a:ext cx="5175597" cy="1558357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spc="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Cop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BDD5434-54A2-6A40-96D9-E2CBC86D17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13345" y="365125"/>
            <a:ext cx="1250955" cy="479533"/>
          </a:xfrm>
          <a:prstGeom prst="rect">
            <a:avLst/>
          </a:prstGeom>
        </p:spPr>
      </p:pic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B673985C-EA0E-C643-BCC7-BC3B11B153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63850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Headline &amp; Cop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0988FC-BF77-9543-A25A-A1C3E1D00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8350" y="253111"/>
            <a:ext cx="5165731" cy="1325563"/>
          </a:xfrm>
        </p:spPr>
        <p:txBody>
          <a:bodyPr anchor="b"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998B8E1-742D-644A-8E97-DB68766D10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13345" y="365125"/>
            <a:ext cx="1250955" cy="479533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3DAC0F7-1848-C949-B772-44C476C42DD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6166" y="722765"/>
            <a:ext cx="4299997" cy="5816147"/>
          </a:xfrm>
          <a:custGeom>
            <a:avLst/>
            <a:gdLst>
              <a:gd name="connsiteX0" fmla="*/ 2824211 w 3137824"/>
              <a:gd name="connsiteY0" fmla="*/ 5501408 h 5816147"/>
              <a:gd name="connsiteX1" fmla="*/ 79238 w 3137824"/>
              <a:gd name="connsiteY1" fmla="*/ 4167928 h 5816147"/>
              <a:gd name="connsiteX2" fmla="*/ 2082339 w 3137824"/>
              <a:gd name="connsiteY2" fmla="*/ 60382 h 5816147"/>
              <a:gd name="connsiteX3" fmla="*/ 2825465 w 3137824"/>
              <a:gd name="connsiteY3" fmla="*/ 2729177 h 5816147"/>
              <a:gd name="connsiteX4" fmla="*/ 2824211 w 3137824"/>
              <a:gd name="connsiteY4" fmla="*/ 5501408 h 5816147"/>
              <a:gd name="connsiteX5" fmla="*/ 3219050 w 3411779"/>
              <a:gd name="connsiteY5" fmla="*/ 4733434 h 4770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37824" h="5816147">
                <a:moveTo>
                  <a:pt x="2824211" y="5501408"/>
                </a:moveTo>
                <a:cubicBezTo>
                  <a:pt x="2122903" y="6147600"/>
                  <a:pt x="420463" y="5844023"/>
                  <a:pt x="79238" y="4167928"/>
                </a:cubicBezTo>
                <a:cubicBezTo>
                  <a:pt x="-318747" y="2172519"/>
                  <a:pt x="849718" y="-430380"/>
                  <a:pt x="2082339" y="60382"/>
                </a:cubicBezTo>
                <a:cubicBezTo>
                  <a:pt x="2972823" y="449544"/>
                  <a:pt x="2818326" y="1444968"/>
                  <a:pt x="2825465" y="2729177"/>
                </a:cubicBezTo>
                <a:cubicBezTo>
                  <a:pt x="2832604" y="4013386"/>
                  <a:pt x="3525519" y="4855216"/>
                  <a:pt x="2824211" y="5501408"/>
                </a:cubicBezTo>
                <a:close/>
              </a:path>
            </a:pathLst>
          </a:custGeom>
          <a:solidFill>
            <a:schemeClr val="bg2"/>
          </a:solidFill>
          <a:effectLst>
            <a:outerShdw blurRad="127000" dist="12700" algn="ctr" rotWithShape="0">
              <a:schemeClr val="tx2">
                <a:lumMod val="50000"/>
                <a:alpha val="50000"/>
              </a:schemeClr>
            </a:outerShdw>
          </a:effectLst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D70ADA00-64F8-DF4E-8611-C2F00CB142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‹N°›</a:t>
            </a:fld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F55BB7A0-ED09-A34D-8919-2B10BF5A44BF}"/>
              </a:ext>
            </a:extLst>
          </p:cNvPr>
          <p:cNvSpPr/>
          <p:nvPr userDrawn="1"/>
        </p:nvSpPr>
        <p:spPr>
          <a:xfrm>
            <a:off x="0" y="0"/>
            <a:ext cx="1362726" cy="6872516"/>
          </a:xfrm>
          <a:custGeom>
            <a:avLst/>
            <a:gdLst>
              <a:gd name="connsiteX0" fmla="*/ 0 w 1362726"/>
              <a:gd name="connsiteY0" fmla="*/ 0 h 6872516"/>
              <a:gd name="connsiteX1" fmla="*/ 1304667 w 1362726"/>
              <a:gd name="connsiteY1" fmla="*/ 2 h 6872516"/>
              <a:gd name="connsiteX2" fmla="*/ 1362726 w 1362726"/>
              <a:gd name="connsiteY2" fmla="*/ 6872485 h 6872516"/>
              <a:gd name="connsiteX3" fmla="*/ 0 w 1362726"/>
              <a:gd name="connsiteY3" fmla="*/ 6872516 h 6872516"/>
              <a:gd name="connsiteX4" fmla="*/ 0 w 1362726"/>
              <a:gd name="connsiteY4" fmla="*/ 0 h 6872516"/>
              <a:gd name="connsiteX5" fmla="*/ 0 w 1842655"/>
              <a:gd name="connsiteY5" fmla="*/ 0 h 6872516"/>
              <a:gd name="connsiteX6" fmla="*/ 0 w 1842655"/>
              <a:gd name="connsiteY6" fmla="*/ 0 h 6872516"/>
              <a:gd name="connsiteX7" fmla="*/ 0 w 1842655"/>
              <a:gd name="connsiteY7" fmla="*/ 0 h 6872516"/>
              <a:gd name="connsiteX8" fmla="*/ 0 w 1842655"/>
              <a:gd name="connsiteY8" fmla="*/ 0 h 6872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2726" h="6872516">
                <a:moveTo>
                  <a:pt x="0" y="0"/>
                </a:moveTo>
                <a:lnTo>
                  <a:pt x="1304667" y="2"/>
                </a:lnTo>
                <a:cubicBezTo>
                  <a:pt x="1261124" y="1977009"/>
                  <a:pt x="-1101062" y="2940196"/>
                  <a:pt x="1362726" y="6872485"/>
                </a:cubicBezTo>
                <a:lnTo>
                  <a:pt x="0" y="6872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27000" dist="12700" algn="l" rotWithShape="0">
              <a:schemeClr val="tx2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ext Placeholder 32">
            <a:extLst>
              <a:ext uri="{FF2B5EF4-FFF2-40B4-BE49-F238E27FC236}">
                <a16:creationId xmlns:a16="http://schemas.microsoft.com/office/drawing/2014/main" id="{A079D4BF-86ED-794C-A7BA-B1B3BDAEE1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78350" y="1398561"/>
            <a:ext cx="6732650" cy="5322914"/>
          </a:xfrm>
        </p:spPr>
        <p:txBody>
          <a:bodyPr anchor="t">
            <a:normAutofit/>
          </a:bodyPr>
          <a:lstStyle>
            <a:lvl1pPr algn="l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defRPr sz="1800" b="1" spc="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Headline Copy</a:t>
            </a:r>
          </a:p>
        </p:txBody>
      </p:sp>
    </p:spTree>
    <p:extLst>
      <p:ext uri="{BB962C8B-B14F-4D97-AF65-F5344CB8AC3E}">
        <p14:creationId xmlns:p14="http://schemas.microsoft.com/office/powerpoint/2010/main" val="395783877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+ Headline &amp; Cop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">
            <a:extLst>
              <a:ext uri="{FF2B5EF4-FFF2-40B4-BE49-F238E27FC236}">
                <a16:creationId xmlns:a16="http://schemas.microsoft.com/office/drawing/2014/main" id="{C2B5AE13-5CBF-944B-B231-822F7D984FD0}"/>
              </a:ext>
            </a:extLst>
          </p:cNvPr>
          <p:cNvSpPr/>
          <p:nvPr userDrawn="1"/>
        </p:nvSpPr>
        <p:spPr bwMode="auto">
          <a:xfrm rot="16200000">
            <a:off x="53279" y="74456"/>
            <a:ext cx="6638079" cy="6744637"/>
          </a:xfrm>
          <a:custGeom>
            <a:avLst/>
            <a:gdLst>
              <a:gd name="T0" fmla="*/ 8751800 w 20831"/>
              <a:gd name="T1" fmla="*/ 5708631 h 19270"/>
              <a:gd name="T2" fmla="*/ 8751800 w 20831"/>
              <a:gd name="T3" fmla="*/ 5708631 h 19270"/>
              <a:gd name="T4" fmla="*/ 8751800 w 20831"/>
              <a:gd name="T5" fmla="*/ 5708631 h 19270"/>
              <a:gd name="T6" fmla="*/ 8751800 w 20831"/>
              <a:gd name="T7" fmla="*/ 5708631 h 19270"/>
              <a:gd name="T8" fmla="*/ 0 60000 65536"/>
              <a:gd name="T9" fmla="*/ 5898240 60000 65536"/>
              <a:gd name="T10" fmla="*/ 11796480 60000 65536"/>
              <a:gd name="T11" fmla="*/ 17694720 60000 65536"/>
              <a:gd name="connsiteX0" fmla="*/ 266 w 20163"/>
              <a:gd name="connsiteY0" fmla="*/ 0 h 19560"/>
              <a:gd name="connsiteX1" fmla="*/ 0 w 20163"/>
              <a:gd name="connsiteY1" fmla="*/ 13438 h 19560"/>
              <a:gd name="connsiteX2" fmla="*/ 12097 w 20163"/>
              <a:gd name="connsiteY2" fmla="*/ 17856 h 19560"/>
              <a:gd name="connsiteX3" fmla="*/ 19898 w 20163"/>
              <a:gd name="connsiteY3" fmla="*/ 13229 h 19560"/>
              <a:gd name="connsiteX4" fmla="*/ 19419 w 20163"/>
              <a:gd name="connsiteY4" fmla="*/ 0 h 19560"/>
              <a:gd name="connsiteX5" fmla="*/ 266 w 20163"/>
              <a:gd name="connsiteY5" fmla="*/ 0 h 19560"/>
              <a:gd name="connsiteX6" fmla="*/ 169 w 20116"/>
              <a:gd name="connsiteY6" fmla="*/ 0 h 19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63" h="19560" extrusionOk="0">
                <a:moveTo>
                  <a:pt x="266" y="0"/>
                </a:moveTo>
                <a:cubicBezTo>
                  <a:pt x="1111" y="4384"/>
                  <a:pt x="112" y="8738"/>
                  <a:pt x="0" y="13438"/>
                </a:cubicBezTo>
                <a:cubicBezTo>
                  <a:pt x="166" y="23132"/>
                  <a:pt x="7809" y="18598"/>
                  <a:pt x="12097" y="17856"/>
                </a:cubicBezTo>
                <a:cubicBezTo>
                  <a:pt x="16385" y="17114"/>
                  <a:pt x="18771" y="17222"/>
                  <a:pt x="19898" y="13229"/>
                </a:cubicBezTo>
                <a:cubicBezTo>
                  <a:pt x="21025" y="9236"/>
                  <a:pt x="18118" y="2604"/>
                  <a:pt x="19419" y="0"/>
                </a:cubicBezTo>
                <a:lnTo>
                  <a:pt x="266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27000" dist="38100" algn="l" rotWithShape="0">
              <a:schemeClr val="tx2">
                <a:lumMod val="75000"/>
                <a:alpha val="50000"/>
              </a:schemeClr>
            </a:outerShdw>
          </a:effectLst>
        </p:spPr>
        <p:txBody>
          <a:bodyPr lIns="25400" tIns="25400" rIns="25400" bIns="25400" anchor="ctr"/>
          <a:lstStyle/>
          <a:p>
            <a:endParaRPr lang="en-US" sz="900"/>
          </a:p>
        </p:txBody>
      </p:sp>
      <p:sp>
        <p:nvSpPr>
          <p:cNvPr id="8" name="Freeform: Shape 5">
            <a:extLst>
              <a:ext uri="{FF2B5EF4-FFF2-40B4-BE49-F238E27FC236}">
                <a16:creationId xmlns:a16="http://schemas.microsoft.com/office/drawing/2014/main" id="{715697B4-194C-024E-AE15-553BDA4A6584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1587" y="315107"/>
            <a:ext cx="6463769" cy="6227786"/>
          </a:xfrm>
          <a:custGeom>
            <a:avLst/>
            <a:gdLst>
              <a:gd name="connsiteX0" fmla="*/ 7733741 w 13247144"/>
              <a:gd name="connsiteY0" fmla="*/ 0 h 12763509"/>
              <a:gd name="connsiteX1" fmla="*/ 7739719 w 13247144"/>
              <a:gd name="connsiteY1" fmla="*/ 0 h 12763509"/>
              <a:gd name="connsiteX2" fmla="*/ 7973038 w 13247144"/>
              <a:gd name="connsiteY2" fmla="*/ 4297 h 12763509"/>
              <a:gd name="connsiteX3" fmla="*/ 11030146 w 13247144"/>
              <a:gd name="connsiteY3" fmla="*/ 1383044 h 12763509"/>
              <a:gd name="connsiteX4" fmla="*/ 12265885 w 13247144"/>
              <a:gd name="connsiteY4" fmla="*/ 5160659 h 12763509"/>
              <a:gd name="connsiteX5" fmla="*/ 13243749 w 13247144"/>
              <a:gd name="connsiteY5" fmla="*/ 9269474 h 12763509"/>
              <a:gd name="connsiteX6" fmla="*/ 13247144 w 13247144"/>
              <a:gd name="connsiteY6" fmla="*/ 9462591 h 12763509"/>
              <a:gd name="connsiteX7" fmla="*/ 13247144 w 13247144"/>
              <a:gd name="connsiteY7" fmla="*/ 9470522 h 12763509"/>
              <a:gd name="connsiteX8" fmla="*/ 13241793 w 13247144"/>
              <a:gd name="connsiteY8" fmla="*/ 9663788 h 12763509"/>
              <a:gd name="connsiteX9" fmla="*/ 12559244 w 13247144"/>
              <a:gd name="connsiteY9" fmla="*/ 11510705 h 12763509"/>
              <a:gd name="connsiteX10" fmla="*/ 6735561 w 13247144"/>
              <a:gd name="connsiteY10" fmla="*/ 12526395 h 12763509"/>
              <a:gd name="connsiteX11" fmla="*/ 0 w 13247144"/>
              <a:gd name="connsiteY11" fmla="*/ 12603775 h 12763509"/>
              <a:gd name="connsiteX12" fmla="*/ 0 w 13247144"/>
              <a:gd name="connsiteY12" fmla="*/ 771315 h 12763509"/>
              <a:gd name="connsiteX13" fmla="*/ 3138026 w 13247144"/>
              <a:gd name="connsiteY13" fmla="*/ 646410 h 12763509"/>
              <a:gd name="connsiteX14" fmla="*/ 7466095 w 13247144"/>
              <a:gd name="connsiteY14" fmla="*/ 4104 h 12763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3247144" h="12763509">
                <a:moveTo>
                  <a:pt x="7733741" y="0"/>
                </a:moveTo>
                <a:lnTo>
                  <a:pt x="7739719" y="0"/>
                </a:lnTo>
                <a:lnTo>
                  <a:pt x="7973038" y="4297"/>
                </a:lnTo>
                <a:cubicBezTo>
                  <a:pt x="9145520" y="45980"/>
                  <a:pt x="10200207" y="394277"/>
                  <a:pt x="11030146" y="1383044"/>
                </a:cubicBezTo>
                <a:cubicBezTo>
                  <a:pt x="11912817" y="2434683"/>
                  <a:pt x="11956301" y="3854335"/>
                  <a:pt x="12265885" y="5160659"/>
                </a:cubicBezTo>
                <a:cubicBezTo>
                  <a:pt x="12587963" y="6519761"/>
                  <a:pt x="13192214" y="7944554"/>
                  <a:pt x="13243749" y="9269474"/>
                </a:cubicBezTo>
                <a:lnTo>
                  <a:pt x="13247144" y="9462591"/>
                </a:lnTo>
                <a:lnTo>
                  <a:pt x="13247144" y="9470522"/>
                </a:lnTo>
                <a:lnTo>
                  <a:pt x="13241793" y="9663788"/>
                </a:lnTo>
                <a:cubicBezTo>
                  <a:pt x="13208115" y="10315432"/>
                  <a:pt x="13015385" y="10937970"/>
                  <a:pt x="12559244" y="11510705"/>
                </a:cubicBezTo>
                <a:cubicBezTo>
                  <a:pt x="11246919" y="13157622"/>
                  <a:pt x="8870846" y="12804842"/>
                  <a:pt x="6735561" y="12526395"/>
                </a:cubicBezTo>
                <a:cubicBezTo>
                  <a:pt x="4497730" y="12233935"/>
                  <a:pt x="2230043" y="12260134"/>
                  <a:pt x="0" y="12603775"/>
                </a:cubicBezTo>
                <a:lnTo>
                  <a:pt x="0" y="771315"/>
                </a:lnTo>
                <a:cubicBezTo>
                  <a:pt x="1057259" y="814574"/>
                  <a:pt x="2109974" y="802388"/>
                  <a:pt x="3138026" y="646410"/>
                </a:cubicBezTo>
                <a:cubicBezTo>
                  <a:pt x="4607455" y="424208"/>
                  <a:pt x="6102553" y="47780"/>
                  <a:pt x="7466095" y="4104"/>
                </a:cubicBezTo>
                <a:close/>
              </a:path>
            </a:pathLst>
          </a:custGeom>
          <a:solidFill>
            <a:schemeClr val="tx2"/>
          </a:solidFill>
        </p:spPr>
        <p:txBody>
          <a:bodyPr lIns="91439" tIns="45719" rIns="91439" bIns="45719">
            <a:noAutofit/>
          </a:bodyPr>
          <a:lstStyle/>
          <a:p>
            <a:pPr lvl="0"/>
            <a:r>
              <a:rPr lang="en-US" noProof="0">
                <a:sym typeface="Helvetica Neue Light"/>
              </a:rPr>
              <a:t>Click icon to add picture</a:t>
            </a:r>
            <a:endParaRPr noProof="0">
              <a:sym typeface="Helvetica Neue Light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437559F-67C8-1643-8694-3CCFC05067A3}"/>
              </a:ext>
            </a:extLst>
          </p:cNvPr>
          <p:cNvSpPr txBox="1">
            <a:spLocks noGrp="1" noChangeArrowheads="1"/>
          </p:cNvSpPr>
          <p:nvPr>
            <p:ph type="sldNum" sz="quarter" idx="14"/>
          </p:nvPr>
        </p:nvSpPr>
        <p:spPr>
          <a:xfrm>
            <a:off x="23215600" y="3337597"/>
            <a:ext cx="180482" cy="18280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82AF141-3515-6B43-B29D-C3CB43CA3F9D}" type="slidenum">
              <a:rPr lang="en-US" altLang="en-US"/>
              <a:t>‹N°›</a:t>
            </a:fld>
            <a:endParaRPr lang="en-US" alt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2591A4B-DA9E-ED40-9A95-C47C46F832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96803" y="1832562"/>
            <a:ext cx="5003002" cy="1325563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5" name="Text Placeholder 32">
            <a:extLst>
              <a:ext uri="{FF2B5EF4-FFF2-40B4-BE49-F238E27FC236}">
                <a16:creationId xmlns:a16="http://schemas.microsoft.com/office/drawing/2014/main" id="{5640436D-6AA8-7A4D-B6D2-E192BA094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22929" y="3158125"/>
            <a:ext cx="5003002" cy="2828072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2000" b="1" spc="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Headline Copy</a:t>
            </a: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C741F94A-BBA9-DF40-800E-BA3DAA48242D}"/>
              </a:ext>
            </a:extLst>
          </p:cNvPr>
          <p:cNvSpPr txBox="1"/>
          <p:nvPr userDrawn="1"/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© Sysco 2021  |  </a:t>
            </a:r>
            <a:fld id="{E8FB3C74-32D3-4A7F-9B30-489F040C047F}" type="slidenum"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18957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_Change Background Col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">
            <a:extLst>
              <a:ext uri="{FF2B5EF4-FFF2-40B4-BE49-F238E27FC236}">
                <a16:creationId xmlns:a16="http://schemas.microsoft.com/office/drawing/2014/main" id="{37D8EEDD-C6F6-2D4C-B308-1E3A594090AA}"/>
              </a:ext>
            </a:extLst>
          </p:cNvPr>
          <p:cNvSpPr/>
          <p:nvPr/>
        </p:nvSpPr>
        <p:spPr bwMode="auto">
          <a:xfrm>
            <a:off x="2238294" y="-11113"/>
            <a:ext cx="9734760" cy="6349754"/>
          </a:xfrm>
          <a:custGeom>
            <a:avLst/>
            <a:gdLst>
              <a:gd name="T0" fmla="*/ 8751800 w 20831"/>
              <a:gd name="T1" fmla="*/ 5708631 h 19270"/>
              <a:gd name="T2" fmla="*/ 8751800 w 20831"/>
              <a:gd name="T3" fmla="*/ 5708631 h 19270"/>
              <a:gd name="T4" fmla="*/ 8751800 w 20831"/>
              <a:gd name="T5" fmla="*/ 5708631 h 19270"/>
              <a:gd name="T6" fmla="*/ 8751800 w 20831"/>
              <a:gd name="T7" fmla="*/ 5708631 h 1927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831" h="19270" extrusionOk="0">
                <a:moveTo>
                  <a:pt x="1009" y="0"/>
                </a:moveTo>
                <a:cubicBezTo>
                  <a:pt x="266" y="1257"/>
                  <a:pt x="-146" y="2698"/>
                  <a:pt x="48" y="4378"/>
                </a:cubicBezTo>
                <a:cubicBezTo>
                  <a:pt x="530" y="8552"/>
                  <a:pt x="4166" y="9341"/>
                  <a:pt x="6733" y="11592"/>
                </a:cubicBezTo>
                <a:cubicBezTo>
                  <a:pt x="10296" y="14716"/>
                  <a:pt x="13245" y="21600"/>
                  <a:pt x="16958" y="18475"/>
                </a:cubicBezTo>
                <a:cubicBezTo>
                  <a:pt x="17721" y="17833"/>
                  <a:pt x="18241" y="16781"/>
                  <a:pt x="18697" y="15704"/>
                </a:cubicBezTo>
                <a:cubicBezTo>
                  <a:pt x="20828" y="10666"/>
                  <a:pt x="21454" y="4638"/>
                  <a:pt x="20162" y="0"/>
                </a:cubicBezTo>
                <a:lnTo>
                  <a:pt x="1009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27000" dist="38100" dir="8100000" algn="tr" rotWithShape="0">
              <a:schemeClr val="tx2">
                <a:lumMod val="75000"/>
                <a:alpha val="50000"/>
              </a:schemeClr>
            </a:outerShdw>
          </a:effectLst>
        </p:spPr>
        <p:txBody>
          <a:bodyPr lIns="25400" tIns="25400" rIns="25400" bIns="25400" anchor="ctr"/>
          <a:lstStyle/>
          <a:p>
            <a:endParaRPr lang="en-US" sz="9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6752F0D-2358-4CCB-8AF6-CC07D8D3A95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2531513" y="-4961"/>
            <a:ext cx="9426277" cy="6037449"/>
          </a:xfrm>
          <a:custGeom>
            <a:avLst/>
            <a:gdLst>
              <a:gd name="connsiteX0" fmla="*/ 863644 w 16949101"/>
              <a:gd name="connsiteY0" fmla="*/ 0 h 10855753"/>
              <a:gd name="connsiteX1" fmla="*/ 16468556 w 16949101"/>
              <a:gd name="connsiteY1" fmla="*/ 0 h 10855753"/>
              <a:gd name="connsiteX2" fmla="*/ 15225600 w 16949101"/>
              <a:gd name="connsiteY2" fmla="*/ 8750383 h 10855753"/>
              <a:gd name="connsiteX3" fmla="*/ 13764496 w 16949101"/>
              <a:gd name="connsiteY3" fmla="*/ 10392319 h 10855753"/>
              <a:gd name="connsiteX4" fmla="*/ 5173696 w 16949101"/>
              <a:gd name="connsiteY4" fmla="*/ 6314400 h 10855753"/>
              <a:gd name="connsiteX5" fmla="*/ 56984 w 16949101"/>
              <a:gd name="connsiteY5" fmla="*/ 2593546 h 10855753"/>
              <a:gd name="connsiteX6" fmla="*/ 863644 w 16949101"/>
              <a:gd name="connsiteY6" fmla="*/ 0 h 10855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949101" h="10855753">
                <a:moveTo>
                  <a:pt x="863644" y="0"/>
                </a:moveTo>
                <a:lnTo>
                  <a:pt x="16468556" y="0"/>
                </a:lnTo>
                <a:cubicBezTo>
                  <a:pt x="17436384" y="2594680"/>
                  <a:pt x="16902412" y="5937497"/>
                  <a:pt x="15225600" y="8750383"/>
                </a:cubicBezTo>
                <a:cubicBezTo>
                  <a:pt x="14844656" y="9389701"/>
                  <a:pt x="14407546" y="10014283"/>
                  <a:pt x="13764496" y="10392319"/>
                </a:cubicBezTo>
                <a:cubicBezTo>
                  <a:pt x="10623328" y="12242261"/>
                  <a:pt x="8190326" y="8073658"/>
                  <a:pt x="5173696" y="6314400"/>
                </a:cubicBezTo>
                <a:cubicBezTo>
                  <a:pt x="3211177" y="5168955"/>
                  <a:pt x="498978" y="4784684"/>
                  <a:pt x="56984" y="2593546"/>
                </a:cubicBezTo>
                <a:cubicBezTo>
                  <a:pt x="-145698" y="1590361"/>
                  <a:pt x="208385" y="733402"/>
                  <a:pt x="863644" y="0"/>
                </a:cubicBezTo>
                <a:close/>
              </a:path>
            </a:pathLst>
          </a:custGeom>
          <a:pattFill prst="pct90">
            <a:fgClr>
              <a:schemeClr val="tx2"/>
            </a:fgClr>
            <a:bgClr>
              <a:schemeClr val="accent1"/>
            </a:bgClr>
          </a:pattFill>
        </p:spPr>
        <p:txBody>
          <a:bodyPr lIns="91439" tIns="45719" rIns="91439" bIns="45719">
            <a:noAutofit/>
          </a:bodyPr>
          <a:lstStyle/>
          <a:p>
            <a:pPr lvl="0"/>
            <a:r>
              <a:rPr lang="en-US" noProof="0">
                <a:sym typeface="Helvetica Neue Light"/>
              </a:rPr>
              <a:t>Click icon to add picture</a:t>
            </a:r>
            <a:endParaRPr noProof="0">
              <a:sym typeface="Helvetica Neue Light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3742D24-B32C-4B4F-AB47-5B02CDEC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169" y="5014535"/>
            <a:ext cx="6535849" cy="307777"/>
          </a:xfrm>
        </p:spPr>
        <p:txBody>
          <a:bodyPr wrap="square">
            <a:spAutoFit/>
          </a:bodyPr>
          <a:lstStyle>
            <a:lvl1pPr algn="l">
              <a:defRPr sz="1400" b="0" i="0">
                <a:solidFill>
                  <a:schemeClr val="bg1"/>
                </a:solidFill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Location | Dat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25777E-EDDB-C247-9BD6-47B4A86D47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169" y="4596480"/>
            <a:ext cx="6535849" cy="400110"/>
          </a:xfrm>
        </p:spPr>
        <p:txBody>
          <a:bodyPr wrap="square">
            <a:spAutoFit/>
          </a:bodyPr>
          <a:lstStyle>
            <a:lvl1pPr algn="l">
              <a:defRPr sz="2000" b="1" i="0" spc="300">
                <a:solidFill>
                  <a:schemeClr val="bg1"/>
                </a:solidFill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SUBHEADER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65D3BFB7-05C8-614E-B7FF-C57E04624B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1169" y="3745128"/>
            <a:ext cx="7447732" cy="823070"/>
          </a:xfrm>
        </p:spPr>
        <p:txBody>
          <a:bodyPr anchor="b"/>
          <a:lstStyle>
            <a:lvl1pPr algn="l">
              <a:defRPr/>
            </a:lvl1pPr>
          </a:lstStyle>
          <a:p>
            <a:r>
              <a:rPr lang="en-US"/>
              <a:t>Title of Presenta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D9CB86A-0427-9244-9310-7C9E9A48D7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2288" y="5713738"/>
            <a:ext cx="1364651" cy="710176"/>
          </a:xfrm>
          <a:prstGeom prst="rect">
            <a:avLst/>
          </a:prstGeom>
        </p:spPr>
      </p:pic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AF43DB3E-5BED-FA4C-96D3-BD05136589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279980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 + Headline &amp; Cop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84838C-C457-474C-9EBB-6902B78CE5B4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-3573" y="-4100"/>
            <a:ext cx="12195573" cy="3821305"/>
          </a:xfrm>
          <a:custGeom>
            <a:avLst/>
            <a:gdLst>
              <a:gd name="connsiteX0" fmla="*/ 2259 w 24391144"/>
              <a:gd name="connsiteY0" fmla="*/ 0 h 8034004"/>
              <a:gd name="connsiteX1" fmla="*/ 24391144 w 24391144"/>
              <a:gd name="connsiteY1" fmla="*/ 0 h 8034004"/>
              <a:gd name="connsiteX2" fmla="*/ 24391144 w 24391144"/>
              <a:gd name="connsiteY2" fmla="*/ 2684864 h 8034004"/>
              <a:gd name="connsiteX3" fmla="*/ 0 w 24391144"/>
              <a:gd name="connsiteY3" fmla="*/ 5589032 h 8034004"/>
              <a:gd name="connsiteX4" fmla="*/ 2259 w 24391144"/>
              <a:gd name="connsiteY4" fmla="*/ 0 h 8034004"/>
              <a:gd name="connsiteX5" fmla="*/ 2259 w 24391144"/>
              <a:gd name="connsiteY5" fmla="*/ 0 h 7209878"/>
              <a:gd name="connsiteX6" fmla="*/ 2259 w 24391144"/>
              <a:gd name="connsiteY6" fmla="*/ 0 h 7209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91144" h="8034004">
                <a:moveTo>
                  <a:pt x="2259" y="0"/>
                </a:moveTo>
                <a:lnTo>
                  <a:pt x="24391144" y="0"/>
                </a:lnTo>
                <a:lnTo>
                  <a:pt x="24391144" y="2684864"/>
                </a:lnTo>
                <a:cubicBezTo>
                  <a:pt x="11760687" y="2920499"/>
                  <a:pt x="10153097" y="12369661"/>
                  <a:pt x="0" y="5589032"/>
                </a:cubicBezTo>
                <a:lnTo>
                  <a:pt x="2259" y="0"/>
                </a:lnTo>
                <a:close/>
              </a:path>
            </a:pathLst>
          </a:custGeom>
          <a:solidFill>
            <a:schemeClr val="tx2"/>
          </a:solidFill>
          <a:effectLst>
            <a:outerShdw blurRad="127000" dist="38100" dir="5400000" algn="t" rotWithShape="0">
              <a:schemeClr val="tx2">
                <a:lumMod val="75000"/>
                <a:alpha val="50000"/>
              </a:schemeClr>
            </a:outerShdw>
          </a:effectLst>
        </p:spPr>
        <p:txBody>
          <a:bodyPr lIns="91439" tIns="45719" rIns="91439" bIns="45719">
            <a:noAutofit/>
          </a:bodyPr>
          <a:lstStyle/>
          <a:p>
            <a:pPr lvl="0"/>
            <a:r>
              <a:rPr lang="en-US" noProof="0">
                <a:sym typeface="Helvetica Neue Light"/>
              </a:rPr>
              <a:t>Click icon to add picture</a:t>
            </a:r>
            <a:endParaRPr noProof="0">
              <a:sym typeface="Helvetica Neue Light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437559F-67C8-1643-8694-3CCFC05067A3}"/>
              </a:ext>
            </a:extLst>
          </p:cNvPr>
          <p:cNvSpPr txBox="1">
            <a:spLocks noGrp="1" noChangeArrowheads="1"/>
          </p:cNvSpPr>
          <p:nvPr>
            <p:ph type="sldNum" sz="quarter" idx="14"/>
          </p:nvPr>
        </p:nvSpPr>
        <p:spPr>
          <a:xfrm>
            <a:off x="23215600" y="3337597"/>
            <a:ext cx="180482" cy="18280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82AF141-3515-6B43-B29D-C3CB43CA3F9D}" type="slidenum">
              <a:rPr lang="en-US" altLang="en-US"/>
              <a:t>‹N°›</a:t>
            </a:fld>
            <a:endParaRPr lang="en-US" alt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2591A4B-DA9E-ED40-9A95-C47C46F832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9498" y="3019031"/>
            <a:ext cx="5003002" cy="1325563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7" name="Text Placeholder 32">
            <a:extLst>
              <a:ext uri="{FF2B5EF4-FFF2-40B4-BE49-F238E27FC236}">
                <a16:creationId xmlns:a16="http://schemas.microsoft.com/office/drawing/2014/main" id="{BD097376-6F26-AF41-B3F4-846322FD75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4816" y="4344594"/>
            <a:ext cx="10847683" cy="1990892"/>
          </a:xfrm>
        </p:spPr>
        <p:txBody>
          <a:bodyPr anchor="t">
            <a:normAutofit/>
          </a:bodyPr>
          <a:lstStyle>
            <a:lvl1pPr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defRPr sz="2000" b="1" spc="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Headline Copy</a:t>
            </a:r>
          </a:p>
        </p:txBody>
      </p:sp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06182133-DBD9-1D45-AF38-D6B146D10095}"/>
              </a:ext>
            </a:extLst>
          </p:cNvPr>
          <p:cNvSpPr txBox="1"/>
          <p:nvPr userDrawn="1"/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© Sysco 2021  |  </a:t>
            </a:r>
            <a:fld id="{ECE8FC3B-CC3B-4E19-AAE2-BEAB4E981F3D}" type="slidenum"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349580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Cop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3B19C50B-84CA-464E-AFBD-20EB6F8B0410}"/>
              </a:ext>
            </a:extLst>
          </p:cNvPr>
          <p:cNvSpPr/>
          <p:nvPr userDrawn="1"/>
        </p:nvSpPr>
        <p:spPr>
          <a:xfrm rot="5400000" flipV="1">
            <a:off x="3261670" y="-2330130"/>
            <a:ext cx="5668658" cy="12201380"/>
          </a:xfrm>
          <a:custGeom>
            <a:avLst/>
            <a:gdLst>
              <a:gd name="connsiteX0" fmla="*/ 343 w 5505368"/>
              <a:gd name="connsiteY0" fmla="*/ 2856620 h 12201380"/>
              <a:gd name="connsiteX1" fmla="*/ 184970 w 5505368"/>
              <a:gd name="connsiteY1" fmla="*/ 12192002 h 12201380"/>
              <a:gd name="connsiteX2" fmla="*/ 1763774 w 5505368"/>
              <a:gd name="connsiteY2" fmla="*/ 12192002 h 12201380"/>
              <a:gd name="connsiteX3" fmla="*/ 1763774 w 5505368"/>
              <a:gd name="connsiteY3" fmla="*/ 12201380 h 12201380"/>
              <a:gd name="connsiteX4" fmla="*/ 5238870 w 5505368"/>
              <a:gd name="connsiteY4" fmla="*/ 12201380 h 12201380"/>
              <a:gd name="connsiteX5" fmla="*/ 5238870 w 5505368"/>
              <a:gd name="connsiteY5" fmla="*/ 9379 h 12201380"/>
              <a:gd name="connsiteX6" fmla="*/ 2596949 w 5505368"/>
              <a:gd name="connsiteY6" fmla="*/ 9379 h 12201380"/>
              <a:gd name="connsiteX7" fmla="*/ 2596949 w 5505368"/>
              <a:gd name="connsiteY7" fmla="*/ 0 h 12201380"/>
              <a:gd name="connsiteX8" fmla="*/ 184970 w 5505368"/>
              <a:gd name="connsiteY8" fmla="*/ 0 h 12201380"/>
              <a:gd name="connsiteX9" fmla="*/ 343 w 5505368"/>
              <a:gd name="connsiteY9" fmla="*/ 2856620 h 12201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505368" h="12201380">
                <a:moveTo>
                  <a:pt x="343" y="2856620"/>
                </a:moveTo>
                <a:cubicBezTo>
                  <a:pt x="-13153" y="5808983"/>
                  <a:pt x="377153" y="9016623"/>
                  <a:pt x="184970" y="12192002"/>
                </a:cubicBezTo>
                <a:lnTo>
                  <a:pt x="1763774" y="12192002"/>
                </a:lnTo>
                <a:lnTo>
                  <a:pt x="1763774" y="12201380"/>
                </a:lnTo>
                <a:lnTo>
                  <a:pt x="5238870" y="12201380"/>
                </a:lnTo>
                <a:cubicBezTo>
                  <a:pt x="4869682" y="7967542"/>
                  <a:pt x="5992461" y="3676350"/>
                  <a:pt x="5238870" y="9379"/>
                </a:cubicBezTo>
                <a:lnTo>
                  <a:pt x="2596949" y="9379"/>
                </a:lnTo>
                <a:lnTo>
                  <a:pt x="2596949" y="0"/>
                </a:lnTo>
                <a:lnTo>
                  <a:pt x="184970" y="0"/>
                </a:lnTo>
                <a:cubicBezTo>
                  <a:pt x="54208" y="916743"/>
                  <a:pt x="4842" y="1872500"/>
                  <a:pt x="343" y="285662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27000" dist="38100" algn="ctr" rotWithShape="0">
              <a:schemeClr val="tx2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ctr"/>
            <a:endParaRPr lang="en-US">
              <a:latin typeface="Myriad Pro" panose="020B0503030403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437559F-67C8-1643-8694-3CCFC05067A3}"/>
              </a:ext>
            </a:extLst>
          </p:cNvPr>
          <p:cNvSpPr txBox="1">
            <a:spLocks noGrp="1" noChangeArrowheads="1"/>
          </p:cNvSpPr>
          <p:nvPr>
            <p:ph type="sldNum" sz="quarter" idx="14"/>
          </p:nvPr>
        </p:nvSpPr>
        <p:spPr>
          <a:xfrm>
            <a:off x="23215600" y="3337597"/>
            <a:ext cx="180482" cy="18280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82AF141-3515-6B43-B29D-C3CB43CA3F9D}" type="slidenum">
              <a:rPr lang="en-US" altLang="en-US"/>
              <a:t>‹N°›</a:t>
            </a:fld>
            <a:endParaRPr lang="en-US" alt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706C9D-5058-BF44-981D-5A937E928F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03880" y="251147"/>
            <a:ext cx="1277353" cy="664745"/>
          </a:xfrm>
          <a:prstGeom prst="rect">
            <a:avLst/>
          </a:prstGeom>
        </p:spPr>
      </p:pic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91075834-93C2-9647-9325-A272A41A093A}"/>
              </a:ext>
            </a:extLst>
          </p:cNvPr>
          <p:cNvSpPr txBox="1"/>
          <p:nvPr userDrawn="1"/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© Sysco 2021  |  </a:t>
            </a:r>
            <a:fld id="{08614048-16AD-472D-9C29-885817DEA277}" type="slidenum"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‹N°›</a:t>
            </a:fld>
            <a:endParaRPr lang="en-US"/>
          </a:p>
        </p:txBody>
      </p:sp>
      <p:sp>
        <p:nvSpPr>
          <p:cNvPr id="15" name="Text Placeholder 32">
            <a:extLst>
              <a:ext uri="{FF2B5EF4-FFF2-40B4-BE49-F238E27FC236}">
                <a16:creationId xmlns:a16="http://schemas.microsoft.com/office/drawing/2014/main" id="{95C7CA90-12F9-7C4B-A2D7-BEB7F04951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5971" y="1309177"/>
            <a:ext cx="11475029" cy="53899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2000" b="1" spc="30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HEADLINE COPY</a:t>
            </a:r>
          </a:p>
        </p:txBody>
      </p:sp>
      <p:sp>
        <p:nvSpPr>
          <p:cNvPr id="16" name="Text Placeholder 32">
            <a:extLst>
              <a:ext uri="{FF2B5EF4-FFF2-40B4-BE49-F238E27FC236}">
                <a16:creationId xmlns:a16="http://schemas.microsoft.com/office/drawing/2014/main" id="{05B46DAD-AB70-E84A-A775-3E5BA005F6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8850" y="1848170"/>
            <a:ext cx="11462150" cy="4487841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defRPr sz="1800" b="0" spc="0">
                <a:solidFill>
                  <a:schemeClr val="bg1"/>
                </a:solidFill>
              </a:defRPr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/>
              <a:t>Copy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D30EB47-6EF6-F242-B20E-83B9369960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971" y="253111"/>
            <a:ext cx="9912929" cy="807063"/>
          </a:xfrm>
        </p:spPr>
        <p:txBody>
          <a:bodyPr anchor="t"/>
          <a:lstStyle>
            <a:lvl1pPr>
              <a:spcAft>
                <a:spcPts val="600"/>
              </a:spcAft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734514160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F732B6-779E-E549-A313-52D9BA7C13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971" y="253111"/>
            <a:ext cx="9747829" cy="1325563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41B58984-9997-494D-96CE-26F8BF8854EB}"/>
              </a:ext>
            </a:extLst>
          </p:cNvPr>
          <p:cNvSpPr txBox="1"/>
          <p:nvPr userDrawn="1"/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© Sysco 2021  |  </a:t>
            </a:r>
            <a:fld id="{F8D37AD2-9098-4806-98E3-412DC1240C79}" type="slidenum"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207083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8">
            <a:extLst>
              <a:ext uri="{FF2B5EF4-FFF2-40B4-BE49-F238E27FC236}">
                <a16:creationId xmlns:a16="http://schemas.microsoft.com/office/drawing/2014/main" id="{4F1962F0-705B-8240-85D5-40A5B5B304B3}"/>
              </a:ext>
            </a:extLst>
          </p:cNvPr>
          <p:cNvSpPr txBox="1"/>
          <p:nvPr userDrawn="1"/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© Sysco 2021  |  </a:t>
            </a:r>
            <a:fld id="{E25ACA84-3477-4648-93B7-B71FDF01E00F}" type="slidenum"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60387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3B19C50B-84CA-464E-AFBD-20EB6F8B0410}"/>
              </a:ext>
            </a:extLst>
          </p:cNvPr>
          <p:cNvSpPr/>
          <p:nvPr userDrawn="1"/>
        </p:nvSpPr>
        <p:spPr>
          <a:xfrm rot="5400000" flipV="1">
            <a:off x="3261670" y="-2578669"/>
            <a:ext cx="5668658" cy="12201380"/>
          </a:xfrm>
          <a:custGeom>
            <a:avLst/>
            <a:gdLst>
              <a:gd name="connsiteX0" fmla="*/ 343 w 5505368"/>
              <a:gd name="connsiteY0" fmla="*/ 2856620 h 12201380"/>
              <a:gd name="connsiteX1" fmla="*/ 184970 w 5505368"/>
              <a:gd name="connsiteY1" fmla="*/ 12192002 h 12201380"/>
              <a:gd name="connsiteX2" fmla="*/ 1763774 w 5505368"/>
              <a:gd name="connsiteY2" fmla="*/ 12192002 h 12201380"/>
              <a:gd name="connsiteX3" fmla="*/ 1763774 w 5505368"/>
              <a:gd name="connsiteY3" fmla="*/ 12201380 h 12201380"/>
              <a:gd name="connsiteX4" fmla="*/ 5238870 w 5505368"/>
              <a:gd name="connsiteY4" fmla="*/ 12201380 h 12201380"/>
              <a:gd name="connsiteX5" fmla="*/ 5238870 w 5505368"/>
              <a:gd name="connsiteY5" fmla="*/ 9379 h 12201380"/>
              <a:gd name="connsiteX6" fmla="*/ 2596949 w 5505368"/>
              <a:gd name="connsiteY6" fmla="*/ 9379 h 12201380"/>
              <a:gd name="connsiteX7" fmla="*/ 2596949 w 5505368"/>
              <a:gd name="connsiteY7" fmla="*/ 0 h 12201380"/>
              <a:gd name="connsiteX8" fmla="*/ 184970 w 5505368"/>
              <a:gd name="connsiteY8" fmla="*/ 0 h 12201380"/>
              <a:gd name="connsiteX9" fmla="*/ 343 w 5505368"/>
              <a:gd name="connsiteY9" fmla="*/ 2856620 h 12201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505368" h="12201380">
                <a:moveTo>
                  <a:pt x="343" y="2856620"/>
                </a:moveTo>
                <a:cubicBezTo>
                  <a:pt x="-13153" y="5808983"/>
                  <a:pt x="377153" y="9016623"/>
                  <a:pt x="184970" y="12192002"/>
                </a:cubicBezTo>
                <a:lnTo>
                  <a:pt x="1763774" y="12192002"/>
                </a:lnTo>
                <a:lnTo>
                  <a:pt x="1763774" y="12201380"/>
                </a:lnTo>
                <a:lnTo>
                  <a:pt x="5238870" y="12201380"/>
                </a:lnTo>
                <a:cubicBezTo>
                  <a:pt x="4869682" y="7967542"/>
                  <a:pt x="5992461" y="3676350"/>
                  <a:pt x="5238870" y="9379"/>
                </a:cubicBezTo>
                <a:lnTo>
                  <a:pt x="2596949" y="9379"/>
                </a:lnTo>
                <a:lnTo>
                  <a:pt x="2596949" y="0"/>
                </a:lnTo>
                <a:lnTo>
                  <a:pt x="184970" y="0"/>
                </a:lnTo>
                <a:cubicBezTo>
                  <a:pt x="54208" y="916743"/>
                  <a:pt x="4842" y="1872500"/>
                  <a:pt x="343" y="285662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27000" dist="38100" algn="ctr" rotWithShape="0">
              <a:schemeClr val="tx2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ctr"/>
            <a:endParaRPr lang="en-US">
              <a:latin typeface="Myriad Pro" panose="020B0503030403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437559F-67C8-1643-8694-3CCFC05067A3}"/>
              </a:ext>
            </a:extLst>
          </p:cNvPr>
          <p:cNvSpPr txBox="1">
            <a:spLocks noGrp="1" noChangeArrowheads="1"/>
          </p:cNvSpPr>
          <p:nvPr>
            <p:ph type="sldNum" sz="quarter" idx="14"/>
          </p:nvPr>
        </p:nvSpPr>
        <p:spPr>
          <a:xfrm>
            <a:off x="23215600" y="3337597"/>
            <a:ext cx="180482" cy="18280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82AF141-3515-6B43-B29D-C3CB43CA3F9D}" type="slidenum">
              <a:rPr lang="en-US" altLang="en-US"/>
              <a:t>‹N°›</a:t>
            </a:fld>
            <a:endParaRPr lang="en-US" alt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706C9D-5058-BF44-981D-5A937E928F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03880" y="251147"/>
            <a:ext cx="1277353" cy="664745"/>
          </a:xfrm>
          <a:prstGeom prst="rect">
            <a:avLst/>
          </a:prstGeom>
        </p:spPr>
      </p:pic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91075834-93C2-9647-9325-A272A41A093A}"/>
              </a:ext>
            </a:extLst>
          </p:cNvPr>
          <p:cNvSpPr txBox="1"/>
          <p:nvPr userDrawn="1"/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© Sysco 2021  |  </a:t>
            </a:r>
            <a:fld id="{6380BCC0-51C6-43AC-8A8B-D50411D3AE1A}" type="slidenum"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534183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437559F-67C8-1643-8694-3CCFC05067A3}"/>
              </a:ext>
            </a:extLst>
          </p:cNvPr>
          <p:cNvSpPr txBox="1">
            <a:spLocks noGrp="1" noChangeArrowheads="1"/>
          </p:cNvSpPr>
          <p:nvPr>
            <p:ph type="sldNum" sz="quarter" idx="14"/>
          </p:nvPr>
        </p:nvSpPr>
        <p:spPr>
          <a:xfrm>
            <a:off x="23215600" y="3337597"/>
            <a:ext cx="180482" cy="18280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82AF141-3515-6B43-B29D-C3CB43CA3F9D}" type="slidenum">
              <a:rPr lang="en-US" altLang="en-US"/>
              <a:t>‹N°›</a:t>
            </a:fld>
            <a:endParaRPr lang="en-US" alt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706C9D-5058-BF44-981D-5A937E928F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03880" y="251147"/>
            <a:ext cx="1277353" cy="664745"/>
          </a:xfrm>
          <a:prstGeom prst="rect">
            <a:avLst/>
          </a:prstGeom>
        </p:spPr>
      </p:pic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91075834-93C2-9647-9325-A272A41A093A}"/>
              </a:ext>
            </a:extLst>
          </p:cNvPr>
          <p:cNvSpPr txBox="1"/>
          <p:nvPr userDrawn="1"/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© Sysco 2021  |  </a:t>
            </a:r>
            <a:fld id="{F99A65B2-5A22-4BE4-8490-D8211E7B27A9}" type="slidenum"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‹N°›</a:t>
            </a:fld>
            <a:endParaRPr lang="en-US"/>
          </a:p>
        </p:txBody>
      </p:sp>
      <p:sp>
        <p:nvSpPr>
          <p:cNvPr id="6" name="Oval 1">
            <a:extLst>
              <a:ext uri="{FF2B5EF4-FFF2-40B4-BE49-F238E27FC236}">
                <a16:creationId xmlns:a16="http://schemas.microsoft.com/office/drawing/2014/main" id="{E0C0CF0E-388E-C649-B18B-7EDEAACCCB7A}"/>
              </a:ext>
            </a:extLst>
          </p:cNvPr>
          <p:cNvSpPr/>
          <p:nvPr userDrawn="1"/>
        </p:nvSpPr>
        <p:spPr>
          <a:xfrm>
            <a:off x="2336775" y="337580"/>
            <a:ext cx="7518446" cy="6182840"/>
          </a:xfrm>
          <a:custGeom>
            <a:avLst/>
            <a:gdLst>
              <a:gd name="connsiteX0" fmla="*/ 28 w 7945207"/>
              <a:gd name="connsiteY0" fmla="*/ 3193660 h 6533789"/>
              <a:gd name="connsiteX1" fmla="*/ 4485668 w 7945207"/>
              <a:gd name="connsiteY1" fmla="*/ 140118 h 6533789"/>
              <a:gd name="connsiteX2" fmla="*/ 7945148 w 7945207"/>
              <a:gd name="connsiteY2" fmla="*/ 3285100 h 6533789"/>
              <a:gd name="connsiteX3" fmla="*/ 4485668 w 7945207"/>
              <a:gd name="connsiteY3" fmla="*/ 6430082 h 6533789"/>
              <a:gd name="connsiteX4" fmla="*/ 28 w 7945207"/>
              <a:gd name="connsiteY4" fmla="*/ 3193660 h 6533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207" h="6533788">
                <a:moveTo>
                  <a:pt x="28" y="3193660"/>
                </a:moveTo>
                <a:cubicBezTo>
                  <a:pt x="10188" y="948734"/>
                  <a:pt x="2297881" y="-464402"/>
                  <a:pt x="4485668" y="140118"/>
                </a:cubicBezTo>
                <a:cubicBezTo>
                  <a:pt x="6673455" y="744638"/>
                  <a:pt x="7955308" y="1548174"/>
                  <a:pt x="7945148" y="3285100"/>
                </a:cubicBezTo>
                <a:cubicBezTo>
                  <a:pt x="7934988" y="5022026"/>
                  <a:pt x="6307695" y="5906842"/>
                  <a:pt x="4485668" y="6430082"/>
                </a:cubicBezTo>
                <a:cubicBezTo>
                  <a:pt x="2663641" y="6953322"/>
                  <a:pt x="-10132" y="5438586"/>
                  <a:pt x="28" y="31936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27000" algn="ctr" rotWithShape="0">
              <a:schemeClr val="tx2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09878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437559F-67C8-1643-8694-3CCFC05067A3}"/>
              </a:ext>
            </a:extLst>
          </p:cNvPr>
          <p:cNvSpPr txBox="1">
            <a:spLocks noGrp="1" noChangeArrowheads="1"/>
          </p:cNvSpPr>
          <p:nvPr>
            <p:ph type="sldNum" sz="quarter" idx="14"/>
          </p:nvPr>
        </p:nvSpPr>
        <p:spPr>
          <a:xfrm>
            <a:off x="23215600" y="3337597"/>
            <a:ext cx="180482" cy="18280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82AF141-3515-6B43-B29D-C3CB43CA3F9D}" type="slidenum">
              <a:rPr lang="en-US" altLang="en-US"/>
              <a:t>‹N°›</a:t>
            </a:fld>
            <a:endParaRPr lang="en-US" alt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706C9D-5058-BF44-981D-5A937E928F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03880" y="251147"/>
            <a:ext cx="1277353" cy="664745"/>
          </a:xfrm>
          <a:prstGeom prst="rect">
            <a:avLst/>
          </a:prstGeom>
        </p:spPr>
      </p:pic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91075834-93C2-9647-9325-A272A41A093A}"/>
              </a:ext>
            </a:extLst>
          </p:cNvPr>
          <p:cNvSpPr txBox="1"/>
          <p:nvPr userDrawn="1"/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© Sysco 2021  |  </a:t>
            </a:r>
            <a:fld id="{A373B398-8479-400A-B831-DF8A028AE823}" type="slidenum"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‹N°›</a:t>
            </a:fld>
            <a:endParaRPr lang="en-US"/>
          </a:p>
        </p:txBody>
      </p:sp>
      <p:sp>
        <p:nvSpPr>
          <p:cNvPr id="6" name="Oval 1">
            <a:extLst>
              <a:ext uri="{FF2B5EF4-FFF2-40B4-BE49-F238E27FC236}">
                <a16:creationId xmlns:a16="http://schemas.microsoft.com/office/drawing/2014/main" id="{E0C0CF0E-388E-C649-B18B-7EDEAACCCB7A}"/>
              </a:ext>
            </a:extLst>
          </p:cNvPr>
          <p:cNvSpPr/>
          <p:nvPr userDrawn="1"/>
        </p:nvSpPr>
        <p:spPr>
          <a:xfrm>
            <a:off x="2336775" y="337580"/>
            <a:ext cx="7518446" cy="6182840"/>
          </a:xfrm>
          <a:custGeom>
            <a:avLst/>
            <a:gdLst>
              <a:gd name="connsiteX0" fmla="*/ 28 w 7945207"/>
              <a:gd name="connsiteY0" fmla="*/ 3193660 h 6533789"/>
              <a:gd name="connsiteX1" fmla="*/ 4485668 w 7945207"/>
              <a:gd name="connsiteY1" fmla="*/ 140118 h 6533789"/>
              <a:gd name="connsiteX2" fmla="*/ 7945148 w 7945207"/>
              <a:gd name="connsiteY2" fmla="*/ 3285100 h 6533789"/>
              <a:gd name="connsiteX3" fmla="*/ 4485668 w 7945207"/>
              <a:gd name="connsiteY3" fmla="*/ 6430082 h 6533789"/>
              <a:gd name="connsiteX4" fmla="*/ 28 w 7945207"/>
              <a:gd name="connsiteY4" fmla="*/ 3193660 h 6533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207" h="6533788">
                <a:moveTo>
                  <a:pt x="28" y="3193660"/>
                </a:moveTo>
                <a:cubicBezTo>
                  <a:pt x="10188" y="948734"/>
                  <a:pt x="2297881" y="-464402"/>
                  <a:pt x="4485668" y="140118"/>
                </a:cubicBezTo>
                <a:cubicBezTo>
                  <a:pt x="6673455" y="744638"/>
                  <a:pt x="7955308" y="1548174"/>
                  <a:pt x="7945148" y="3285100"/>
                </a:cubicBezTo>
                <a:cubicBezTo>
                  <a:pt x="7934988" y="5022026"/>
                  <a:pt x="6307695" y="5906842"/>
                  <a:pt x="4485668" y="6430082"/>
                </a:cubicBezTo>
                <a:cubicBezTo>
                  <a:pt x="2663641" y="6953322"/>
                  <a:pt x="-10132" y="5438586"/>
                  <a:pt x="28" y="319366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190500" algn="ctr" rotWithShape="0">
              <a:schemeClr val="tx2">
                <a:lumMod val="50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520316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437559F-67C8-1643-8694-3CCFC05067A3}"/>
              </a:ext>
            </a:extLst>
          </p:cNvPr>
          <p:cNvSpPr txBox="1">
            <a:spLocks noGrp="1" noChangeArrowheads="1"/>
          </p:cNvSpPr>
          <p:nvPr>
            <p:ph type="sldNum" sz="quarter" idx="14"/>
          </p:nvPr>
        </p:nvSpPr>
        <p:spPr>
          <a:xfrm>
            <a:off x="23215600" y="3337597"/>
            <a:ext cx="180482" cy="18280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82AF141-3515-6B43-B29D-C3CB43CA3F9D}" type="slidenum">
              <a:rPr lang="en-US" altLang="en-US"/>
              <a:t>‹N°›</a:t>
            </a:fld>
            <a:endParaRPr lang="en-US" alt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706C9D-5058-BF44-981D-5A937E928F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03880" y="251147"/>
            <a:ext cx="1277353" cy="664745"/>
          </a:xfrm>
          <a:prstGeom prst="rect">
            <a:avLst/>
          </a:prstGeom>
        </p:spPr>
      </p:pic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91075834-93C2-9647-9325-A272A41A093A}"/>
              </a:ext>
            </a:extLst>
          </p:cNvPr>
          <p:cNvSpPr txBox="1"/>
          <p:nvPr userDrawn="1"/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© Sysco 2021  |  </a:t>
            </a:r>
            <a:fld id="{130E64C3-C8B6-41AF-875F-B7F959BABB0F}" type="slidenum">
              <a:rPr lang="fr-FR" sz="1100" b="1" i="0" strike="noStrike" cap="none" spc="0" baseline="0">
                <a:solidFill>
                  <a:srgbClr val="DCC88C"/>
                </a:solidFill>
                <a:effectLst/>
                <a:latin typeface="Myriad Pro"/>
                <a:ea typeface="Myriad Pro"/>
                <a:cs typeface="Myriad Pro"/>
              </a:rPr>
              <a:t>‹N°›</a:t>
            </a:fld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26ECB5F2-9BB0-2E4E-87A3-FAFD0DE1D09C}"/>
              </a:ext>
            </a:extLst>
          </p:cNvPr>
          <p:cNvSpPr/>
          <p:nvPr userDrawn="1"/>
        </p:nvSpPr>
        <p:spPr>
          <a:xfrm rot="5400000">
            <a:off x="6753682" y="-1215337"/>
            <a:ext cx="4222981" cy="6653655"/>
          </a:xfrm>
          <a:custGeom>
            <a:avLst/>
            <a:gdLst>
              <a:gd name="connsiteX0" fmla="*/ 0 w 4222981"/>
              <a:gd name="connsiteY0" fmla="*/ 6641969 h 6653655"/>
              <a:gd name="connsiteX1" fmla="*/ 0 w 4222981"/>
              <a:gd name="connsiteY1" fmla="*/ 0 h 6653655"/>
              <a:gd name="connsiteX2" fmla="*/ 4222981 w 4222981"/>
              <a:gd name="connsiteY2" fmla="*/ 0 h 6653655"/>
              <a:gd name="connsiteX3" fmla="*/ 4222587 w 4222981"/>
              <a:gd name="connsiteY3" fmla="*/ 2489 h 6653655"/>
              <a:gd name="connsiteX4" fmla="*/ 1157575 w 4222981"/>
              <a:gd name="connsiteY4" fmla="*/ 2441411 h 6653655"/>
              <a:gd name="connsiteX5" fmla="*/ 27461 w 4222981"/>
              <a:gd name="connsiteY5" fmla="*/ 6653078 h 6653655"/>
              <a:gd name="connsiteX6" fmla="*/ 0 w 4222981"/>
              <a:gd name="connsiteY6" fmla="*/ 6641969 h 6653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2981" h="6653655">
                <a:moveTo>
                  <a:pt x="0" y="6641969"/>
                </a:moveTo>
                <a:lnTo>
                  <a:pt x="0" y="0"/>
                </a:lnTo>
                <a:lnTo>
                  <a:pt x="4222981" y="0"/>
                </a:lnTo>
                <a:lnTo>
                  <a:pt x="4222587" y="2489"/>
                </a:lnTo>
                <a:cubicBezTo>
                  <a:pt x="4111473" y="121505"/>
                  <a:pt x="1505636" y="642868"/>
                  <a:pt x="1157575" y="2441411"/>
                </a:cubicBezTo>
                <a:cubicBezTo>
                  <a:pt x="770840" y="4439792"/>
                  <a:pt x="327713" y="6695074"/>
                  <a:pt x="27461" y="6653078"/>
                </a:cubicBezTo>
                <a:lnTo>
                  <a:pt x="0" y="66419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27000" dist="38100" dir="5400000" algn="ctr" rotWithShape="0">
              <a:schemeClr val="tx2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72092CE-C3FA-CE43-A989-0E9BEE9F811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13345" y="365125"/>
            <a:ext cx="1250955" cy="479533"/>
          </a:xfrm>
          <a:prstGeom prst="rect">
            <a:avLst/>
          </a:prstGeom>
        </p:spPr>
      </p:pic>
      <p:sp>
        <p:nvSpPr>
          <p:cNvPr id="11" name="Freeform 10">
            <a:extLst>
              <a:ext uri="{FF2B5EF4-FFF2-40B4-BE49-F238E27FC236}">
                <a16:creationId xmlns:a16="http://schemas.microsoft.com/office/drawing/2014/main" id="{D6689754-BACC-8B47-94E6-79A58B537801}"/>
              </a:ext>
            </a:extLst>
          </p:cNvPr>
          <p:cNvSpPr/>
          <p:nvPr userDrawn="1"/>
        </p:nvSpPr>
        <p:spPr>
          <a:xfrm rot="16200000">
            <a:off x="1670795" y="3027327"/>
            <a:ext cx="2159876" cy="5501467"/>
          </a:xfrm>
          <a:custGeom>
            <a:avLst/>
            <a:gdLst>
              <a:gd name="connsiteX0" fmla="*/ 0 w 4222981"/>
              <a:gd name="connsiteY0" fmla="*/ 6641969 h 6654045"/>
              <a:gd name="connsiteX1" fmla="*/ 0 w 4222981"/>
              <a:gd name="connsiteY1" fmla="*/ 0 h 6654045"/>
              <a:gd name="connsiteX2" fmla="*/ 4222981 w 4222981"/>
              <a:gd name="connsiteY2" fmla="*/ 0 h 6654045"/>
              <a:gd name="connsiteX3" fmla="*/ 4222587 w 4222981"/>
              <a:gd name="connsiteY3" fmla="*/ 2489 h 6654045"/>
              <a:gd name="connsiteX4" fmla="*/ 3014847 w 4222981"/>
              <a:gd name="connsiteY4" fmla="*/ 3481060 h 6654045"/>
              <a:gd name="connsiteX5" fmla="*/ 27461 w 4222981"/>
              <a:gd name="connsiteY5" fmla="*/ 6653078 h 6654045"/>
              <a:gd name="connsiteX6" fmla="*/ 0 w 4222981"/>
              <a:gd name="connsiteY6" fmla="*/ 6641969 h 6654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2981" h="6654045">
                <a:moveTo>
                  <a:pt x="0" y="6641969"/>
                </a:moveTo>
                <a:lnTo>
                  <a:pt x="0" y="0"/>
                </a:lnTo>
                <a:lnTo>
                  <a:pt x="4222981" y="0"/>
                </a:lnTo>
                <a:cubicBezTo>
                  <a:pt x="4222850" y="830"/>
                  <a:pt x="4222718" y="1659"/>
                  <a:pt x="4222587" y="2489"/>
                </a:cubicBezTo>
                <a:cubicBezTo>
                  <a:pt x="4111473" y="121505"/>
                  <a:pt x="2662883" y="1226085"/>
                  <a:pt x="3014847" y="3481060"/>
                </a:cubicBezTo>
                <a:cubicBezTo>
                  <a:pt x="3309079" y="5366158"/>
                  <a:pt x="327713" y="6695074"/>
                  <a:pt x="27461" y="6653078"/>
                </a:cubicBezTo>
                <a:lnTo>
                  <a:pt x="0" y="66419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27000" dist="38100" dir="18900000" algn="bl" rotWithShape="0">
              <a:schemeClr val="tx2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221523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437559F-67C8-1643-8694-3CCFC05067A3}"/>
              </a:ext>
            </a:extLst>
          </p:cNvPr>
          <p:cNvSpPr txBox="1">
            <a:spLocks noGrp="1" noChangeArrowheads="1"/>
          </p:cNvSpPr>
          <p:nvPr>
            <p:ph type="sldNum" sz="quarter" idx="14"/>
          </p:nvPr>
        </p:nvSpPr>
        <p:spPr>
          <a:xfrm>
            <a:off x="23215600" y="3337597"/>
            <a:ext cx="180482" cy="18280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82AF141-3515-6B43-B29D-C3CB43CA3F9D}" type="slidenum">
              <a:rPr lang="en-US" altLang="en-US"/>
              <a:t>‹N°›</a:t>
            </a:fld>
            <a:endParaRPr lang="en-US" alt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706C9D-5058-BF44-981D-5A937E928F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03880" y="251147"/>
            <a:ext cx="1277353" cy="664745"/>
          </a:xfrm>
          <a:prstGeom prst="rect">
            <a:avLst/>
          </a:prstGeom>
        </p:spPr>
      </p:pic>
      <p:sp>
        <p:nvSpPr>
          <p:cNvPr id="12" name="Freeform 11">
            <a:extLst>
              <a:ext uri="{FF2B5EF4-FFF2-40B4-BE49-F238E27FC236}">
                <a16:creationId xmlns:a16="http://schemas.microsoft.com/office/drawing/2014/main" id="{21876505-A50F-2445-83D4-A41564D89C2F}"/>
              </a:ext>
            </a:extLst>
          </p:cNvPr>
          <p:cNvSpPr/>
          <p:nvPr userDrawn="1"/>
        </p:nvSpPr>
        <p:spPr>
          <a:xfrm rot="5400000">
            <a:off x="6759525" y="-1209494"/>
            <a:ext cx="4222981" cy="6641969"/>
          </a:xfrm>
          <a:custGeom>
            <a:avLst/>
            <a:gdLst>
              <a:gd name="connsiteX0" fmla="*/ 0 w 4222981"/>
              <a:gd name="connsiteY0" fmla="*/ 6641969 h 6641969"/>
              <a:gd name="connsiteX1" fmla="*/ 0 w 4222981"/>
              <a:gd name="connsiteY1" fmla="*/ 0 h 6641969"/>
              <a:gd name="connsiteX2" fmla="*/ 4222981 w 4222981"/>
              <a:gd name="connsiteY2" fmla="*/ 0 h 6641969"/>
              <a:gd name="connsiteX3" fmla="*/ 4222587 w 4222981"/>
              <a:gd name="connsiteY3" fmla="*/ 2489 h 6641969"/>
              <a:gd name="connsiteX4" fmla="*/ 889945 w 4222981"/>
              <a:gd name="connsiteY4" fmla="*/ 1928456 h 6641969"/>
              <a:gd name="connsiteX5" fmla="*/ 0 w 4222981"/>
              <a:gd name="connsiteY5" fmla="*/ 6641969 h 6641969"/>
              <a:gd name="connsiteX6" fmla="*/ 0 w 4222981"/>
              <a:gd name="connsiteY6" fmla="*/ 6641969 h 6653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22981" h="6641969">
                <a:moveTo>
                  <a:pt x="0" y="6641969"/>
                </a:moveTo>
                <a:lnTo>
                  <a:pt x="0" y="0"/>
                </a:lnTo>
                <a:lnTo>
                  <a:pt x="4222981" y="0"/>
                </a:lnTo>
                <a:cubicBezTo>
                  <a:pt x="4222850" y="830"/>
                  <a:pt x="4222718" y="1659"/>
                  <a:pt x="4222587" y="2489"/>
                </a:cubicBezTo>
                <a:cubicBezTo>
                  <a:pt x="4111473" y="121505"/>
                  <a:pt x="1627162" y="461320"/>
                  <a:pt x="889945" y="1928456"/>
                </a:cubicBezTo>
                <a:cubicBezTo>
                  <a:pt x="152728" y="3395592"/>
                  <a:pt x="3358" y="6636279"/>
                  <a:pt x="0" y="664196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127000" dist="38100" dir="5400000" algn="ctr" rotWithShape="0">
              <a:schemeClr val="tx2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2D4C16B1-6A35-E948-B1D0-5F2752C8677B}"/>
              </a:ext>
            </a:extLst>
          </p:cNvPr>
          <p:cNvSpPr/>
          <p:nvPr userDrawn="1"/>
        </p:nvSpPr>
        <p:spPr>
          <a:xfrm rot="16200000">
            <a:off x="1209493" y="1425524"/>
            <a:ext cx="4222981" cy="6641969"/>
          </a:xfrm>
          <a:custGeom>
            <a:avLst/>
            <a:gdLst>
              <a:gd name="connsiteX0" fmla="*/ 0 w 4222981"/>
              <a:gd name="connsiteY0" fmla="*/ 6641969 h 6641969"/>
              <a:gd name="connsiteX1" fmla="*/ 0 w 4222981"/>
              <a:gd name="connsiteY1" fmla="*/ 0 h 6641969"/>
              <a:gd name="connsiteX2" fmla="*/ 4222981 w 4222981"/>
              <a:gd name="connsiteY2" fmla="*/ 0 h 6641969"/>
              <a:gd name="connsiteX3" fmla="*/ 4222587 w 4222981"/>
              <a:gd name="connsiteY3" fmla="*/ 2489 h 6641969"/>
              <a:gd name="connsiteX4" fmla="*/ 1090668 w 4222981"/>
              <a:gd name="connsiteY4" fmla="*/ 1895002 h 6641969"/>
              <a:gd name="connsiteX5" fmla="*/ 0 w 4222981"/>
              <a:gd name="connsiteY5" fmla="*/ 6641969 h 6641969"/>
              <a:gd name="connsiteX6" fmla="*/ 0 w 4222981"/>
              <a:gd name="connsiteY6" fmla="*/ 6641969 h 6653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22981" h="6641969">
                <a:moveTo>
                  <a:pt x="0" y="6641969"/>
                </a:moveTo>
                <a:lnTo>
                  <a:pt x="0" y="0"/>
                </a:lnTo>
                <a:lnTo>
                  <a:pt x="4222981" y="0"/>
                </a:lnTo>
                <a:cubicBezTo>
                  <a:pt x="4222850" y="830"/>
                  <a:pt x="4222718" y="1659"/>
                  <a:pt x="4222587" y="2489"/>
                </a:cubicBezTo>
                <a:cubicBezTo>
                  <a:pt x="4111473" y="121505"/>
                  <a:pt x="1995154" y="327505"/>
                  <a:pt x="1090668" y="1895002"/>
                </a:cubicBezTo>
                <a:cubicBezTo>
                  <a:pt x="186182" y="3462499"/>
                  <a:pt x="3358" y="6636279"/>
                  <a:pt x="0" y="664196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127000" dist="38100" dir="18900000" algn="bl" rotWithShape="0">
              <a:schemeClr val="tx2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983287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tra Shapes +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val 6">
            <a:extLst>
              <a:ext uri="{FF2B5EF4-FFF2-40B4-BE49-F238E27FC236}">
                <a16:creationId xmlns:a16="http://schemas.microsoft.com/office/drawing/2014/main" id="{89E5977D-FE2F-514C-ADCD-3FE383D19256}"/>
              </a:ext>
            </a:extLst>
          </p:cNvPr>
          <p:cNvSpPr/>
          <p:nvPr userDrawn="1"/>
        </p:nvSpPr>
        <p:spPr>
          <a:xfrm>
            <a:off x="5180332" y="900258"/>
            <a:ext cx="1872588" cy="1658164"/>
          </a:xfrm>
          <a:custGeom>
            <a:avLst/>
            <a:gdLst>
              <a:gd name="connsiteX0" fmla="*/ 41634 w 9911408"/>
              <a:gd name="connsiteY0" fmla="*/ 4212641 h 8370198"/>
              <a:gd name="connsiteX1" fmla="*/ 5652112 w 9911408"/>
              <a:gd name="connsiteY1" fmla="*/ 13 h 8370198"/>
              <a:gd name="connsiteX2" fmla="*/ 9762277 w 9911408"/>
              <a:gd name="connsiteY2" fmla="*/ 4501017 h 8370198"/>
              <a:gd name="connsiteX3" fmla="*/ 4483691 w 9911408"/>
              <a:gd name="connsiteY3" fmla="*/ 8368369 h 8370198"/>
              <a:gd name="connsiteX4" fmla="*/ 41634 w 9911408"/>
              <a:gd name="connsiteY4" fmla="*/ 4212641 h 8370198"/>
              <a:gd name="connsiteX5" fmla="*/ 36908 w 9770978"/>
              <a:gd name="connsiteY5" fmla="*/ 4267555 h 8643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11408" h="8370198">
                <a:moveTo>
                  <a:pt x="41634" y="4212641"/>
                </a:moveTo>
                <a:cubicBezTo>
                  <a:pt x="-217959" y="2214189"/>
                  <a:pt x="629301" y="6868"/>
                  <a:pt x="5652112" y="13"/>
                </a:cubicBezTo>
                <a:cubicBezTo>
                  <a:pt x="10674923" y="-6842"/>
                  <a:pt x="9957014" y="3106291"/>
                  <a:pt x="9762277" y="4501017"/>
                </a:cubicBezTo>
                <a:cubicBezTo>
                  <a:pt x="9567540" y="5895743"/>
                  <a:pt x="7615959" y="8448207"/>
                  <a:pt x="4483691" y="8368369"/>
                </a:cubicBezTo>
                <a:cubicBezTo>
                  <a:pt x="1351423" y="8288531"/>
                  <a:pt x="301227" y="6211093"/>
                  <a:pt x="41634" y="42126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A8D6CD7-C9F0-AF47-9EAE-3D0AA6C2AFCD}"/>
              </a:ext>
            </a:extLst>
          </p:cNvPr>
          <p:cNvSpPr/>
          <p:nvPr userDrawn="1"/>
        </p:nvSpPr>
        <p:spPr>
          <a:xfrm>
            <a:off x="454378" y="884848"/>
            <a:ext cx="1867124" cy="1688985"/>
          </a:xfrm>
          <a:custGeom>
            <a:avLst/>
            <a:gdLst>
              <a:gd name="connsiteX0" fmla="*/ 28 w 7945207"/>
              <a:gd name="connsiteY0" fmla="*/ 3193660 h 6533789"/>
              <a:gd name="connsiteX1" fmla="*/ 4485668 w 7945207"/>
              <a:gd name="connsiteY1" fmla="*/ 140118 h 6533789"/>
              <a:gd name="connsiteX2" fmla="*/ 7945148 w 7945207"/>
              <a:gd name="connsiteY2" fmla="*/ 3285100 h 6533789"/>
              <a:gd name="connsiteX3" fmla="*/ 4485668 w 7945207"/>
              <a:gd name="connsiteY3" fmla="*/ 6430082 h 6533789"/>
              <a:gd name="connsiteX4" fmla="*/ 28 w 7945207"/>
              <a:gd name="connsiteY4" fmla="*/ 3193660 h 6533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207" h="6533788">
                <a:moveTo>
                  <a:pt x="28" y="3193660"/>
                </a:moveTo>
                <a:cubicBezTo>
                  <a:pt x="10188" y="948734"/>
                  <a:pt x="2297881" y="-464402"/>
                  <a:pt x="4485668" y="140118"/>
                </a:cubicBezTo>
                <a:cubicBezTo>
                  <a:pt x="6673455" y="744638"/>
                  <a:pt x="7955308" y="1548174"/>
                  <a:pt x="7945148" y="3285100"/>
                </a:cubicBezTo>
                <a:cubicBezTo>
                  <a:pt x="7934988" y="5022026"/>
                  <a:pt x="6307695" y="5906842"/>
                  <a:pt x="4485668" y="6430082"/>
                </a:cubicBezTo>
                <a:cubicBezTo>
                  <a:pt x="2663641" y="6953322"/>
                  <a:pt x="-10132" y="5438586"/>
                  <a:pt x="28" y="31936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49C3449-BA41-7741-B916-B7DBEE9C0AAE}"/>
              </a:ext>
            </a:extLst>
          </p:cNvPr>
          <p:cNvCxnSpPr/>
          <p:nvPr userDrawn="1"/>
        </p:nvCxnSpPr>
        <p:spPr>
          <a:xfrm>
            <a:off x="11392" y="650718"/>
            <a:ext cx="261089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30B23CFE-28CB-6D4A-A42B-7B52A8D5B9A6}"/>
              </a:ext>
            </a:extLst>
          </p:cNvPr>
          <p:cNvSpPr txBox="1"/>
          <p:nvPr userDrawn="1"/>
        </p:nvSpPr>
        <p:spPr>
          <a:xfrm>
            <a:off x="0" y="350836"/>
            <a:ext cx="5763939" cy="25933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fr-FR" sz="1100" b="1" i="0" strike="noStrike" cap="none" spc="0" baseline="0">
                <a:solidFill>
                  <a:srgbClr val="1A320D"/>
                </a:solidFill>
                <a:effectLst/>
                <a:latin typeface="Myriad Pro"/>
                <a:ea typeface="Myriad Pro"/>
                <a:cs typeface="Myriad Pro"/>
              </a:rPr>
              <a:t>Formes organiques supplémentaires à utiliser </a:t>
            </a:r>
            <a:r>
              <a:rPr lang="fr-FR" sz="1100" b="0" i="0" strike="noStrike" cap="none" spc="0" baseline="0">
                <a:solidFill>
                  <a:srgbClr val="1A320D"/>
                </a:solidFill>
                <a:effectLst/>
                <a:latin typeface="Myriad Pro"/>
                <a:ea typeface="Myriad Pro"/>
                <a:cs typeface="Myriad Pro"/>
              </a:rPr>
              <a:t>(derrière les chiffres, images, titres, etc.)</a:t>
            </a:r>
          </a:p>
        </p:txBody>
      </p:sp>
      <p:sp>
        <p:nvSpPr>
          <p:cNvPr id="8" name="Oval 1">
            <a:extLst>
              <a:ext uri="{FF2B5EF4-FFF2-40B4-BE49-F238E27FC236}">
                <a16:creationId xmlns:a16="http://schemas.microsoft.com/office/drawing/2014/main" id="{C2F02907-D638-E74C-B23F-8C1C15A6957C}"/>
              </a:ext>
            </a:extLst>
          </p:cNvPr>
          <p:cNvSpPr/>
          <p:nvPr userDrawn="1"/>
        </p:nvSpPr>
        <p:spPr>
          <a:xfrm>
            <a:off x="528969" y="2813551"/>
            <a:ext cx="1453449" cy="1685396"/>
          </a:xfrm>
          <a:custGeom>
            <a:avLst/>
            <a:gdLst>
              <a:gd name="connsiteX0" fmla="*/ 225 w 6803373"/>
              <a:gd name="connsiteY0" fmla="*/ 3232802 h 6519908"/>
              <a:gd name="connsiteX1" fmla="*/ 4870047 w 6803373"/>
              <a:gd name="connsiteY1" fmla="*/ 151 h 6519908"/>
              <a:gd name="connsiteX2" fmla="*/ 5970263 w 6803373"/>
              <a:gd name="connsiteY2" fmla="*/ 3324236 h 6519908"/>
              <a:gd name="connsiteX3" fmla="*/ 6710739 w 6803373"/>
              <a:gd name="connsiteY3" fmla="*/ 5800485 h 6519908"/>
              <a:gd name="connsiteX4" fmla="*/ 3402280 w 6803373"/>
              <a:gd name="connsiteY4" fmla="*/ 6469220 h 6519908"/>
              <a:gd name="connsiteX5" fmla="*/ 225 w 6803373"/>
              <a:gd name="connsiteY5" fmla="*/ 3232802 h 6519908"/>
              <a:gd name="connsiteX6" fmla="*/ 23 w 7118239"/>
              <a:gd name="connsiteY6" fmla="*/ 3158766 h 6430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03372" h="6519908">
                <a:moveTo>
                  <a:pt x="225" y="3232802"/>
                </a:moveTo>
                <a:cubicBezTo>
                  <a:pt x="-26040" y="1124770"/>
                  <a:pt x="2249667" y="-15087"/>
                  <a:pt x="4870047" y="151"/>
                </a:cubicBezTo>
                <a:cubicBezTo>
                  <a:pt x="7490427" y="15389"/>
                  <a:pt x="5717664" y="2133633"/>
                  <a:pt x="5970263" y="3324236"/>
                </a:cubicBezTo>
                <a:cubicBezTo>
                  <a:pt x="6222862" y="4514839"/>
                  <a:pt x="7084560" y="5186767"/>
                  <a:pt x="6710739" y="5800485"/>
                </a:cubicBezTo>
                <a:cubicBezTo>
                  <a:pt x="6336918" y="6414203"/>
                  <a:pt x="4954134" y="6628508"/>
                  <a:pt x="3402280" y="6469220"/>
                </a:cubicBezTo>
                <a:cubicBezTo>
                  <a:pt x="1850426" y="6309932"/>
                  <a:pt x="26490" y="5340834"/>
                  <a:pt x="225" y="323280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1">
            <a:extLst>
              <a:ext uri="{FF2B5EF4-FFF2-40B4-BE49-F238E27FC236}">
                <a16:creationId xmlns:a16="http://schemas.microsoft.com/office/drawing/2014/main" id="{FDA2A077-2975-404F-BA78-9D0855ED9032}"/>
              </a:ext>
            </a:extLst>
          </p:cNvPr>
          <p:cNvSpPr/>
          <p:nvPr userDrawn="1"/>
        </p:nvSpPr>
        <p:spPr>
          <a:xfrm>
            <a:off x="7301526" y="2744348"/>
            <a:ext cx="1867127" cy="1823802"/>
          </a:xfrm>
          <a:custGeom>
            <a:avLst/>
            <a:gdLst>
              <a:gd name="connsiteX0" fmla="*/ 28 w 7945220"/>
              <a:gd name="connsiteY0" fmla="*/ 3715196 h 7055325"/>
              <a:gd name="connsiteX1" fmla="*/ 4485668 w 7945220"/>
              <a:gd name="connsiteY1" fmla="*/ 661654 h 7055325"/>
              <a:gd name="connsiteX2" fmla="*/ 7945148 w 7945220"/>
              <a:gd name="connsiteY2" fmla="*/ 3806636 h 7055325"/>
              <a:gd name="connsiteX3" fmla="*/ 4485668 w 7945220"/>
              <a:gd name="connsiteY3" fmla="*/ 6951618 h 7055325"/>
              <a:gd name="connsiteX4" fmla="*/ 28 w 7945220"/>
              <a:gd name="connsiteY4" fmla="*/ 3715196 h 7055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220" h="7055325">
                <a:moveTo>
                  <a:pt x="28" y="3715196"/>
                </a:moveTo>
                <a:cubicBezTo>
                  <a:pt x="10188" y="1470270"/>
                  <a:pt x="2051614" y="-1286158"/>
                  <a:pt x="4485668" y="661654"/>
                </a:cubicBezTo>
                <a:cubicBezTo>
                  <a:pt x="6919722" y="2609466"/>
                  <a:pt x="7955308" y="2069710"/>
                  <a:pt x="7945148" y="3806636"/>
                </a:cubicBezTo>
                <a:cubicBezTo>
                  <a:pt x="7934988" y="5543562"/>
                  <a:pt x="6307695" y="6428378"/>
                  <a:pt x="4485668" y="6951618"/>
                </a:cubicBezTo>
                <a:cubicBezTo>
                  <a:pt x="2663641" y="7474858"/>
                  <a:pt x="-10132" y="5960122"/>
                  <a:pt x="28" y="371519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">
            <a:extLst>
              <a:ext uri="{FF2B5EF4-FFF2-40B4-BE49-F238E27FC236}">
                <a16:creationId xmlns:a16="http://schemas.microsoft.com/office/drawing/2014/main" id="{5AAC75E4-166D-574A-99B4-4BE2F0881863}"/>
              </a:ext>
            </a:extLst>
          </p:cNvPr>
          <p:cNvSpPr/>
          <p:nvPr userDrawn="1"/>
        </p:nvSpPr>
        <p:spPr>
          <a:xfrm>
            <a:off x="9744773" y="2842955"/>
            <a:ext cx="2169251" cy="1626589"/>
          </a:xfrm>
          <a:custGeom>
            <a:avLst/>
            <a:gdLst>
              <a:gd name="connsiteX0" fmla="*/ 5588 w 9230854"/>
              <a:gd name="connsiteY0" fmla="*/ 3111032 h 6292413"/>
              <a:gd name="connsiteX1" fmla="*/ 4916814 w 9230854"/>
              <a:gd name="connsiteY1" fmla="*/ 2218 h 6292413"/>
              <a:gd name="connsiteX2" fmla="*/ 9227464 w 9230854"/>
              <a:gd name="connsiteY2" fmla="*/ 3202467 h 6292413"/>
              <a:gd name="connsiteX3" fmla="*/ 4916814 w 9230854"/>
              <a:gd name="connsiteY3" fmla="*/ 6292182 h 6292413"/>
              <a:gd name="connsiteX4" fmla="*/ 5588 w 9230854"/>
              <a:gd name="connsiteY4" fmla="*/ 3111032 h 6292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30854" h="6292413">
                <a:moveTo>
                  <a:pt x="5588" y="3111032"/>
                </a:moveTo>
                <a:cubicBezTo>
                  <a:pt x="-64285" y="1404127"/>
                  <a:pt x="463350" y="-64987"/>
                  <a:pt x="4916814" y="2218"/>
                </a:cubicBezTo>
                <a:cubicBezTo>
                  <a:pt x="7744898" y="203752"/>
                  <a:pt x="9111408" y="832371"/>
                  <a:pt x="9227464" y="3202467"/>
                </a:cubicBezTo>
                <a:cubicBezTo>
                  <a:pt x="9343520" y="5572563"/>
                  <a:pt x="6453793" y="6307421"/>
                  <a:pt x="4916814" y="6292182"/>
                </a:cubicBezTo>
                <a:cubicBezTo>
                  <a:pt x="3379835" y="6276943"/>
                  <a:pt x="75461" y="4817937"/>
                  <a:pt x="5588" y="311103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">
            <a:extLst>
              <a:ext uri="{FF2B5EF4-FFF2-40B4-BE49-F238E27FC236}">
                <a16:creationId xmlns:a16="http://schemas.microsoft.com/office/drawing/2014/main" id="{62A1CDBA-4FF3-374D-8539-8E683DA1BFDC}"/>
              </a:ext>
            </a:extLst>
          </p:cNvPr>
          <p:cNvSpPr/>
          <p:nvPr userDrawn="1"/>
        </p:nvSpPr>
        <p:spPr>
          <a:xfrm>
            <a:off x="4880084" y="2778268"/>
            <a:ext cx="1845322" cy="1755963"/>
          </a:xfrm>
          <a:custGeom>
            <a:avLst/>
            <a:gdLst>
              <a:gd name="connsiteX0" fmla="*/ 1013 w 7852430"/>
              <a:gd name="connsiteY0" fmla="*/ 3684122 h 6792891"/>
              <a:gd name="connsiteX1" fmla="*/ 3649334 w 7852430"/>
              <a:gd name="connsiteY1" fmla="*/ 3706 h 6792891"/>
              <a:gd name="connsiteX2" fmla="*/ 7847622 w 7852430"/>
              <a:gd name="connsiteY2" fmla="*/ 3283020 h 6792891"/>
              <a:gd name="connsiteX3" fmla="*/ 3994113 w 7852430"/>
              <a:gd name="connsiteY3" fmla="*/ 6517557 h 6792891"/>
              <a:gd name="connsiteX4" fmla="*/ 1013 w 7852430"/>
              <a:gd name="connsiteY4" fmla="*/ 3684122 h 6792891"/>
              <a:gd name="connsiteX5" fmla="*/ 12630 w 7914789"/>
              <a:gd name="connsiteY5" fmla="*/ 2031995 h 632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2430" h="6792891">
                <a:moveTo>
                  <a:pt x="1013" y="3684122"/>
                </a:moveTo>
                <a:cubicBezTo>
                  <a:pt x="-56452" y="538767"/>
                  <a:pt x="2341566" y="70556"/>
                  <a:pt x="3649334" y="3706"/>
                </a:cubicBezTo>
                <a:cubicBezTo>
                  <a:pt x="4957102" y="-63144"/>
                  <a:pt x="7691649" y="764534"/>
                  <a:pt x="7847622" y="3283020"/>
                </a:cubicBezTo>
                <a:cubicBezTo>
                  <a:pt x="8003595" y="5801506"/>
                  <a:pt x="4316802" y="7480566"/>
                  <a:pt x="3994113" y="6517557"/>
                </a:cubicBezTo>
                <a:cubicBezTo>
                  <a:pt x="3671424" y="5554548"/>
                  <a:pt x="58478" y="6829477"/>
                  <a:pt x="1013" y="3684122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2C2400B-F7AF-FA43-83C7-90D314B5C7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2292" y="5384319"/>
            <a:ext cx="718358" cy="112133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519325A-3AB5-0240-9BC4-476D5A590D0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59129" y="5435289"/>
            <a:ext cx="1217614" cy="101939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A960629-9F9B-4F47-A78D-01739A46AED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257212" y="5384319"/>
            <a:ext cx="519138" cy="112133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A20535C-8949-744C-83D6-40E6B4A8444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45323" y="5435289"/>
            <a:ext cx="1093987" cy="10193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C21ABADB-FD8C-1349-AA3A-915F2E5CB91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415249" y="5435289"/>
            <a:ext cx="1067941" cy="101939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908591C-6242-6F40-AD39-9B4F7E3B442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713090" y="5435289"/>
            <a:ext cx="856294" cy="101939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AD721AE-270F-8448-919E-5220BBE6645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1350" y="5328252"/>
            <a:ext cx="1015801" cy="123347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6ED140E8-4AC4-7043-902B-A4531161713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046235" y="5384319"/>
            <a:ext cx="835038" cy="1121337"/>
          </a:xfrm>
          <a:prstGeom prst="rect">
            <a:avLst/>
          </a:prstGeom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B2ED819-77A9-8043-91A5-AF2B73296086}"/>
              </a:ext>
            </a:extLst>
          </p:cNvPr>
          <p:cNvCxnSpPr/>
          <p:nvPr userDrawn="1"/>
        </p:nvCxnSpPr>
        <p:spPr>
          <a:xfrm>
            <a:off x="22784" y="5119022"/>
            <a:ext cx="261089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9BAD35A3-6B12-AA48-A806-553BF8DB3F51}"/>
              </a:ext>
            </a:extLst>
          </p:cNvPr>
          <p:cNvSpPr txBox="1"/>
          <p:nvPr userDrawn="1"/>
        </p:nvSpPr>
        <p:spPr>
          <a:xfrm>
            <a:off x="11392" y="4819140"/>
            <a:ext cx="8115788" cy="25933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fr-FR" sz="1100" b="1" i="0" strike="noStrike" cap="none" spc="0" baseline="0">
                <a:solidFill>
                  <a:srgbClr val="1A320D"/>
                </a:solidFill>
                <a:effectLst/>
                <a:latin typeface="Myriad Pro"/>
                <a:ea typeface="Myriad Pro"/>
                <a:cs typeface="Myriad Pro"/>
              </a:rPr>
              <a:t>Illustrations d’aliments supplémentaires à utiliser </a:t>
            </a:r>
            <a:r>
              <a:rPr lang="fr-FR" sz="1100" b="0" i="0" strike="noStrike" cap="none" spc="0" baseline="0">
                <a:solidFill>
                  <a:srgbClr val="1A320D"/>
                </a:solidFill>
                <a:effectLst/>
                <a:latin typeface="Myriad Pro"/>
                <a:ea typeface="Myriad Pro"/>
                <a:cs typeface="Myriad Pro"/>
              </a:rPr>
              <a:t>(sur les diapositives de séparation, les titres ou les diapositives de fin, etc.)</a:t>
            </a:r>
          </a:p>
        </p:txBody>
      </p:sp>
      <p:sp>
        <p:nvSpPr>
          <p:cNvPr id="26" name="Oval 6">
            <a:extLst>
              <a:ext uri="{FF2B5EF4-FFF2-40B4-BE49-F238E27FC236}">
                <a16:creationId xmlns:a16="http://schemas.microsoft.com/office/drawing/2014/main" id="{6BB67636-D04C-E443-AB94-1E56B0DEC5B0}"/>
              </a:ext>
            </a:extLst>
          </p:cNvPr>
          <p:cNvSpPr/>
          <p:nvPr userDrawn="1"/>
        </p:nvSpPr>
        <p:spPr>
          <a:xfrm>
            <a:off x="9895240" y="840282"/>
            <a:ext cx="1868317" cy="1778117"/>
          </a:xfrm>
          <a:custGeom>
            <a:avLst/>
            <a:gdLst>
              <a:gd name="connsiteX0" fmla="*/ 17117 w 8157926"/>
              <a:gd name="connsiteY0" fmla="*/ 4826982 h 7764074"/>
              <a:gd name="connsiteX1" fmla="*/ 4094361 w 8157926"/>
              <a:gd name="connsiteY1" fmla="*/ 30201 h 7764074"/>
              <a:gd name="connsiteX2" fmla="*/ 8155889 w 8157926"/>
              <a:gd name="connsiteY2" fmla="*/ 3612811 h 7764074"/>
              <a:gd name="connsiteX3" fmla="*/ 4039770 w 8157926"/>
              <a:gd name="connsiteY3" fmla="*/ 7668854 h 7764074"/>
              <a:gd name="connsiteX4" fmla="*/ 17117 w 8157926"/>
              <a:gd name="connsiteY4" fmla="*/ 4826982 h 7764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57926" h="7764073">
                <a:moveTo>
                  <a:pt x="17117" y="4826982"/>
                </a:moveTo>
                <a:cubicBezTo>
                  <a:pt x="-252767" y="1601784"/>
                  <a:pt x="2737899" y="232563"/>
                  <a:pt x="4094361" y="30201"/>
                </a:cubicBezTo>
                <a:cubicBezTo>
                  <a:pt x="5450823" y="-172161"/>
                  <a:pt x="8243982" y="600876"/>
                  <a:pt x="8155889" y="3612811"/>
                </a:cubicBezTo>
                <a:cubicBezTo>
                  <a:pt x="8067796" y="6624746"/>
                  <a:pt x="5396232" y="7466492"/>
                  <a:pt x="4039770" y="7668854"/>
                </a:cubicBezTo>
                <a:cubicBezTo>
                  <a:pt x="2683308" y="7871216"/>
                  <a:pt x="287001" y="8052180"/>
                  <a:pt x="17117" y="482698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27000" algn="ctr" rotWithShape="0">
              <a:schemeClr val="tx2">
                <a:lumMod val="50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6">
            <a:extLst>
              <a:ext uri="{FF2B5EF4-FFF2-40B4-BE49-F238E27FC236}">
                <a16:creationId xmlns:a16="http://schemas.microsoft.com/office/drawing/2014/main" id="{1F624FE6-F0D0-1041-B53D-74C3F97E2063}"/>
              </a:ext>
            </a:extLst>
          </p:cNvPr>
          <p:cNvSpPr/>
          <p:nvPr userDrawn="1"/>
        </p:nvSpPr>
        <p:spPr>
          <a:xfrm>
            <a:off x="2558538" y="2856235"/>
            <a:ext cx="1745426" cy="1600029"/>
          </a:xfrm>
          <a:custGeom>
            <a:avLst/>
            <a:gdLst>
              <a:gd name="connsiteX0" fmla="*/ 3109 w 8393433"/>
              <a:gd name="connsiteY0" fmla="*/ 3714003 h 7694248"/>
              <a:gd name="connsiteX1" fmla="*/ 4339460 w 8393433"/>
              <a:gd name="connsiteY1" fmla="*/ 297 h 7694248"/>
              <a:gd name="connsiteX2" fmla="*/ 8375869 w 8393433"/>
              <a:gd name="connsiteY2" fmla="*/ 3759265 h 7694248"/>
              <a:gd name="connsiteX3" fmla="*/ 3168889 w 8393433"/>
              <a:gd name="connsiteY3" fmla="*/ 7681874 h 7694248"/>
              <a:gd name="connsiteX4" fmla="*/ 3109 w 8393433"/>
              <a:gd name="connsiteY4" fmla="*/ 3714003 h 7694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3433" h="7694248">
                <a:moveTo>
                  <a:pt x="3109" y="3714003"/>
                </a:moveTo>
                <a:cubicBezTo>
                  <a:pt x="-102251" y="2068901"/>
                  <a:pt x="2493316" y="-28710"/>
                  <a:pt x="4339460" y="297"/>
                </a:cubicBezTo>
                <a:cubicBezTo>
                  <a:pt x="6185604" y="29304"/>
                  <a:pt x="8060379" y="358996"/>
                  <a:pt x="8375869" y="3759265"/>
                </a:cubicBezTo>
                <a:cubicBezTo>
                  <a:pt x="8691359" y="7159534"/>
                  <a:pt x="4671655" y="7796726"/>
                  <a:pt x="3168889" y="7681874"/>
                </a:cubicBezTo>
                <a:cubicBezTo>
                  <a:pt x="1666123" y="7567022"/>
                  <a:pt x="108469" y="5359105"/>
                  <a:pt x="3109" y="371400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Shape">
            <a:extLst>
              <a:ext uri="{FF2B5EF4-FFF2-40B4-BE49-F238E27FC236}">
                <a16:creationId xmlns:a16="http://schemas.microsoft.com/office/drawing/2014/main" id="{A1303C49-1F7B-6248-9B46-D7080E4F4AD6}"/>
              </a:ext>
            </a:extLst>
          </p:cNvPr>
          <p:cNvSpPr/>
          <p:nvPr userDrawn="1"/>
        </p:nvSpPr>
        <p:spPr bwMode="auto">
          <a:xfrm>
            <a:off x="2763775" y="809386"/>
            <a:ext cx="1974281" cy="1839908"/>
          </a:xfrm>
          <a:custGeom>
            <a:avLst/>
            <a:gdLst>
              <a:gd name="T0" fmla="*/ 6146445 w 21600"/>
              <a:gd name="T1" fmla="*/ 5727383 h 21560"/>
              <a:gd name="T2" fmla="*/ 6146445 w 21600"/>
              <a:gd name="T3" fmla="*/ 5727383 h 21560"/>
              <a:gd name="T4" fmla="*/ 6146445 w 21600"/>
              <a:gd name="T5" fmla="*/ 5727383 h 21560"/>
              <a:gd name="T6" fmla="*/ 6146445 w 21600"/>
              <a:gd name="T7" fmla="*/ 5727383 h 2156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560" extrusionOk="0">
                <a:moveTo>
                  <a:pt x="10614" y="2"/>
                </a:moveTo>
                <a:cubicBezTo>
                  <a:pt x="8214" y="42"/>
                  <a:pt x="5807" y="840"/>
                  <a:pt x="3797" y="2490"/>
                </a:cubicBezTo>
                <a:cubicBezTo>
                  <a:pt x="2726" y="3370"/>
                  <a:pt x="1830" y="4470"/>
                  <a:pt x="1160" y="5725"/>
                </a:cubicBezTo>
                <a:cubicBezTo>
                  <a:pt x="387" y="7027"/>
                  <a:pt x="0" y="8510"/>
                  <a:pt x="0" y="9992"/>
                </a:cubicBezTo>
                <a:cubicBezTo>
                  <a:pt x="0" y="11475"/>
                  <a:pt x="387" y="12957"/>
                  <a:pt x="1160" y="14259"/>
                </a:cubicBezTo>
                <a:cubicBezTo>
                  <a:pt x="1948" y="15512"/>
                  <a:pt x="3019" y="16659"/>
                  <a:pt x="3797" y="17493"/>
                </a:cubicBezTo>
                <a:cubicBezTo>
                  <a:pt x="4575" y="18326"/>
                  <a:pt x="5646" y="19473"/>
                  <a:pt x="6816" y="20317"/>
                </a:cubicBezTo>
                <a:cubicBezTo>
                  <a:pt x="8031" y="21146"/>
                  <a:pt x="9415" y="21560"/>
                  <a:pt x="10799" y="21560"/>
                </a:cubicBezTo>
                <a:cubicBezTo>
                  <a:pt x="12183" y="21560"/>
                  <a:pt x="13567" y="21146"/>
                  <a:pt x="14783" y="20317"/>
                </a:cubicBezTo>
                <a:cubicBezTo>
                  <a:pt x="15952" y="19473"/>
                  <a:pt x="17025" y="18326"/>
                  <a:pt x="17803" y="17493"/>
                </a:cubicBezTo>
                <a:cubicBezTo>
                  <a:pt x="18581" y="16659"/>
                  <a:pt x="19652" y="15512"/>
                  <a:pt x="20440" y="14259"/>
                </a:cubicBezTo>
                <a:cubicBezTo>
                  <a:pt x="21213" y="12957"/>
                  <a:pt x="21600" y="11475"/>
                  <a:pt x="21600" y="9992"/>
                </a:cubicBezTo>
                <a:cubicBezTo>
                  <a:pt x="21600" y="8510"/>
                  <a:pt x="21213" y="7027"/>
                  <a:pt x="20440" y="5725"/>
                </a:cubicBezTo>
                <a:cubicBezTo>
                  <a:pt x="19770" y="4470"/>
                  <a:pt x="18874" y="3370"/>
                  <a:pt x="17803" y="2490"/>
                </a:cubicBezTo>
                <a:cubicBezTo>
                  <a:pt x="15690" y="754"/>
                  <a:pt x="13139" y="-40"/>
                  <a:pt x="10614" y="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lIns="50800" tIns="50800" rIns="50800" bIns="50800" anchor="ctr"/>
          <a:lstStyle/>
          <a:p>
            <a:endParaRPr lang="en-US">
              <a:solidFill>
                <a:schemeClr val="bg2"/>
              </a:solidFill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66294720-432F-EF48-9D04-E21434200D0F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rcRect l="31968" t="24625" r="27480" b="40462"/>
          <a:stretch>
            <a:fillRect/>
          </a:stretch>
        </p:blipFill>
        <p:spPr>
          <a:xfrm>
            <a:off x="7452683" y="5212080"/>
            <a:ext cx="1302697" cy="1349643"/>
          </a:xfrm>
          <a:prstGeom prst="rect">
            <a:avLst/>
          </a:prstGeom>
        </p:spPr>
      </p:pic>
      <p:sp>
        <p:nvSpPr>
          <p:cNvPr id="38" name="Oval 6">
            <a:extLst>
              <a:ext uri="{FF2B5EF4-FFF2-40B4-BE49-F238E27FC236}">
                <a16:creationId xmlns:a16="http://schemas.microsoft.com/office/drawing/2014/main" id="{4993F1A4-A575-EF4C-B2A1-24DA63F09730}"/>
              </a:ext>
            </a:extLst>
          </p:cNvPr>
          <p:cNvSpPr/>
          <p:nvPr userDrawn="1"/>
        </p:nvSpPr>
        <p:spPr>
          <a:xfrm>
            <a:off x="7452683" y="894970"/>
            <a:ext cx="2072492" cy="1668741"/>
          </a:xfrm>
          <a:custGeom>
            <a:avLst/>
            <a:gdLst>
              <a:gd name="connsiteX0" fmla="*/ 642 w 8553911"/>
              <a:gd name="connsiteY0" fmla="*/ 3713786 h 7767033"/>
              <a:gd name="connsiteX1" fmla="*/ 4336993 w 8553911"/>
              <a:gd name="connsiteY1" fmla="*/ 80 h 7767033"/>
              <a:gd name="connsiteX2" fmla="*/ 8502168 w 8553911"/>
              <a:gd name="connsiteY2" fmla="*/ 4209732 h 7767033"/>
              <a:gd name="connsiteX3" fmla="*/ 4282402 w 8553911"/>
              <a:gd name="connsiteY3" fmla="*/ 7638733 h 7767033"/>
              <a:gd name="connsiteX4" fmla="*/ 642 w 8553911"/>
              <a:gd name="connsiteY4" fmla="*/ 3713786 h 7767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53911" h="7767033">
                <a:moveTo>
                  <a:pt x="642" y="3713786"/>
                </a:moveTo>
                <a:cubicBezTo>
                  <a:pt x="50684" y="428995"/>
                  <a:pt x="2311476" y="10946"/>
                  <a:pt x="4336993" y="80"/>
                </a:cubicBezTo>
                <a:cubicBezTo>
                  <a:pt x="6362510" y="-10786"/>
                  <a:pt x="8953238" y="1086144"/>
                  <a:pt x="8502168" y="4209732"/>
                </a:cubicBezTo>
                <a:cubicBezTo>
                  <a:pt x="8051098" y="7333320"/>
                  <a:pt x="5726619" y="7090865"/>
                  <a:pt x="4282402" y="7638733"/>
                </a:cubicBezTo>
                <a:cubicBezTo>
                  <a:pt x="2838185" y="8186601"/>
                  <a:pt x="-49400" y="6998577"/>
                  <a:pt x="642" y="371378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44696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8">
            <a:extLst>
              <a:ext uri="{FF2B5EF4-FFF2-40B4-BE49-F238E27FC236}">
                <a16:creationId xmlns:a16="http://schemas.microsoft.com/office/drawing/2014/main" id="{2EFCACBF-0F01-184E-B064-7AEB9FD629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‹N°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7818E68-3964-6F47-8235-88E92531DA45}"/>
              </a:ext>
            </a:extLst>
          </p:cNvPr>
          <p:cNvSpPr/>
          <p:nvPr userDrawn="1"/>
        </p:nvSpPr>
        <p:spPr>
          <a:xfrm>
            <a:off x="0" y="-13854"/>
            <a:ext cx="10970565" cy="6884732"/>
          </a:xfrm>
          <a:custGeom>
            <a:avLst/>
            <a:gdLst>
              <a:gd name="connsiteX0" fmla="*/ 0 w 10970565"/>
              <a:gd name="connsiteY0" fmla="*/ 13854 h 6884732"/>
              <a:gd name="connsiteX1" fmla="*/ 9922391 w 10970565"/>
              <a:gd name="connsiteY1" fmla="*/ 0 h 6884732"/>
              <a:gd name="connsiteX2" fmla="*/ 10625070 w 10970565"/>
              <a:gd name="connsiteY2" fmla="*/ 6884732 h 6884732"/>
              <a:gd name="connsiteX3" fmla="*/ 0 w 10970565"/>
              <a:gd name="connsiteY3" fmla="*/ 6871854 h 6884732"/>
              <a:gd name="connsiteX4" fmla="*/ 0 w 10970565"/>
              <a:gd name="connsiteY4" fmla="*/ 13854 h 688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70565" h="6884732">
                <a:moveTo>
                  <a:pt x="0" y="13854"/>
                </a:moveTo>
                <a:lnTo>
                  <a:pt x="9922391" y="0"/>
                </a:lnTo>
                <a:cubicBezTo>
                  <a:pt x="11997450" y="4011964"/>
                  <a:pt x="10292561" y="4723422"/>
                  <a:pt x="10625070" y="6884732"/>
                </a:cubicBezTo>
                <a:lnTo>
                  <a:pt x="0" y="6871854"/>
                </a:lnTo>
                <a:lnTo>
                  <a:pt x="0" y="1385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127000" dist="38100" algn="l" rotWithShape="0">
              <a:schemeClr val="tx2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3A3BD98-EF49-DC45-93C9-B65DE5EB6D63}"/>
              </a:ext>
            </a:extLst>
          </p:cNvPr>
          <p:cNvSpPr/>
          <p:nvPr userDrawn="1"/>
        </p:nvSpPr>
        <p:spPr>
          <a:xfrm>
            <a:off x="1" y="-7903"/>
            <a:ext cx="3271978" cy="6885221"/>
          </a:xfrm>
          <a:custGeom>
            <a:avLst/>
            <a:gdLst>
              <a:gd name="connsiteX0" fmla="*/ 0 w 4559005"/>
              <a:gd name="connsiteY0" fmla="*/ 7903 h 6885221"/>
              <a:gd name="connsiteX1" fmla="*/ 3478153 w 4559005"/>
              <a:gd name="connsiteY1" fmla="*/ 0 h 6885221"/>
              <a:gd name="connsiteX2" fmla="*/ 3424319 w 4559005"/>
              <a:gd name="connsiteY2" fmla="*/ 6885221 h 6885221"/>
              <a:gd name="connsiteX3" fmla="*/ 0 w 4559005"/>
              <a:gd name="connsiteY3" fmla="*/ 6872342 h 6885221"/>
              <a:gd name="connsiteX4" fmla="*/ 0 w 4559005"/>
              <a:gd name="connsiteY4" fmla="*/ 7903 h 688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59005" h="6885221">
                <a:moveTo>
                  <a:pt x="0" y="7903"/>
                </a:moveTo>
                <a:lnTo>
                  <a:pt x="3478153" y="0"/>
                </a:lnTo>
                <a:cubicBezTo>
                  <a:pt x="5803733" y="4104068"/>
                  <a:pt x="3693488" y="4880411"/>
                  <a:pt x="3424319" y="6885221"/>
                </a:cubicBezTo>
                <a:lnTo>
                  <a:pt x="0" y="6872342"/>
                </a:lnTo>
                <a:lnTo>
                  <a:pt x="0" y="79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127000" dist="38100" algn="l" rotWithShape="0">
              <a:schemeClr val="tx2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228790-4FBE-9048-A37E-8D8E927769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200" y="2768918"/>
            <a:ext cx="3022600" cy="1320165"/>
          </a:xfrm>
        </p:spPr>
        <p:txBody>
          <a:bodyPr anchor="ctr">
            <a:normAutofit/>
          </a:bodyPr>
          <a:lstStyle>
            <a:lvl1pPr>
              <a:defRPr sz="4400" b="1" spc="3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3" name="01">
            <a:extLst>
              <a:ext uri="{FF2B5EF4-FFF2-40B4-BE49-F238E27FC236}">
                <a16:creationId xmlns:a16="http://schemas.microsoft.com/office/drawing/2014/main" id="{EB777D7F-18FC-9741-AE6C-122C846AB789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3828642" y="556115"/>
            <a:ext cx="396000" cy="410158"/>
          </a:xfrm>
          <a:custGeom>
            <a:avLst/>
            <a:gdLst>
              <a:gd name="connsiteX0" fmla="*/ 0 w 360000"/>
              <a:gd name="connsiteY0" fmla="*/ 184152 h 372871"/>
              <a:gd name="connsiteX1" fmla="*/ 180000 w 360000"/>
              <a:gd name="connsiteY1" fmla="*/ 4152 h 372871"/>
              <a:gd name="connsiteX2" fmla="*/ 360000 w 360000"/>
              <a:gd name="connsiteY2" fmla="*/ 184152 h 372871"/>
              <a:gd name="connsiteX3" fmla="*/ 180000 w 360000"/>
              <a:gd name="connsiteY3" fmla="*/ 364152 h 372871"/>
              <a:gd name="connsiteX4" fmla="*/ 0 w 360000"/>
              <a:gd name="connsiteY4" fmla="*/ 184152 h 372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000" h="372871">
                <a:moveTo>
                  <a:pt x="0" y="184152"/>
                </a:moveTo>
                <a:cubicBezTo>
                  <a:pt x="0" y="84741"/>
                  <a:pt x="69894" y="30889"/>
                  <a:pt x="180000" y="4152"/>
                </a:cubicBezTo>
                <a:cubicBezTo>
                  <a:pt x="290106" y="-22585"/>
                  <a:pt x="360000" y="84741"/>
                  <a:pt x="360000" y="184152"/>
                </a:cubicBezTo>
                <a:cubicBezTo>
                  <a:pt x="360000" y="283563"/>
                  <a:pt x="290106" y="406931"/>
                  <a:pt x="180000" y="364152"/>
                </a:cubicBezTo>
                <a:cubicBezTo>
                  <a:pt x="69894" y="321373"/>
                  <a:pt x="0" y="283563"/>
                  <a:pt x="0" y="18415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Clr>
                <a:schemeClr val="accent1"/>
              </a:buClr>
              <a:buFont typeface="Arial Unicode MS" panose="020B0604020202020204" pitchFamily="34" charset="-128"/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4" name="Agenda 1">
            <a:extLst>
              <a:ext uri="{FF2B5EF4-FFF2-40B4-BE49-F238E27FC236}">
                <a16:creationId xmlns:a16="http://schemas.microsoft.com/office/drawing/2014/main" id="{179A9E0F-9A79-4B44-ACC0-7159976F58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7296" y="620412"/>
            <a:ext cx="5581650" cy="276999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spcAft>
                <a:spcPct val="0"/>
              </a:spcAft>
              <a:defRPr sz="20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1</a:t>
            </a:r>
          </a:p>
        </p:txBody>
      </p:sp>
      <p:sp>
        <p:nvSpPr>
          <p:cNvPr id="15" name="01">
            <a:extLst>
              <a:ext uri="{FF2B5EF4-FFF2-40B4-BE49-F238E27FC236}">
                <a16:creationId xmlns:a16="http://schemas.microsoft.com/office/drawing/2014/main" id="{DE70DC25-FDA8-B941-80D7-EEDD99807AB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866442" y="1318115"/>
            <a:ext cx="396000" cy="410158"/>
          </a:xfrm>
          <a:custGeom>
            <a:avLst/>
            <a:gdLst>
              <a:gd name="connsiteX0" fmla="*/ 0 w 360000"/>
              <a:gd name="connsiteY0" fmla="*/ 184152 h 372871"/>
              <a:gd name="connsiteX1" fmla="*/ 180000 w 360000"/>
              <a:gd name="connsiteY1" fmla="*/ 4152 h 372871"/>
              <a:gd name="connsiteX2" fmla="*/ 360000 w 360000"/>
              <a:gd name="connsiteY2" fmla="*/ 184152 h 372871"/>
              <a:gd name="connsiteX3" fmla="*/ 180000 w 360000"/>
              <a:gd name="connsiteY3" fmla="*/ 364152 h 372871"/>
              <a:gd name="connsiteX4" fmla="*/ 0 w 360000"/>
              <a:gd name="connsiteY4" fmla="*/ 184152 h 372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000" h="372871">
                <a:moveTo>
                  <a:pt x="0" y="184152"/>
                </a:moveTo>
                <a:cubicBezTo>
                  <a:pt x="0" y="84741"/>
                  <a:pt x="69894" y="30889"/>
                  <a:pt x="180000" y="4152"/>
                </a:cubicBezTo>
                <a:cubicBezTo>
                  <a:pt x="290106" y="-22585"/>
                  <a:pt x="360000" y="84741"/>
                  <a:pt x="360000" y="184152"/>
                </a:cubicBezTo>
                <a:cubicBezTo>
                  <a:pt x="360000" y="283563"/>
                  <a:pt x="290106" y="406931"/>
                  <a:pt x="180000" y="364152"/>
                </a:cubicBezTo>
                <a:cubicBezTo>
                  <a:pt x="69894" y="321373"/>
                  <a:pt x="0" y="283563"/>
                  <a:pt x="0" y="18415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Clr>
                <a:schemeClr val="accent1"/>
              </a:buClr>
              <a:buFont typeface="Arial Unicode MS" panose="020B0604020202020204" pitchFamily="34" charset="-128"/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6" name="Agenda 1">
            <a:extLst>
              <a:ext uri="{FF2B5EF4-FFF2-40B4-BE49-F238E27FC236}">
                <a16:creationId xmlns:a16="http://schemas.microsoft.com/office/drawing/2014/main" id="{E262E562-4385-0C49-8D49-EE642331BB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45096" y="1382412"/>
            <a:ext cx="5581650" cy="276999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spcAft>
                <a:spcPct val="0"/>
              </a:spcAft>
              <a:defRPr sz="20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2</a:t>
            </a:r>
          </a:p>
        </p:txBody>
      </p:sp>
      <p:sp>
        <p:nvSpPr>
          <p:cNvPr id="17" name="01">
            <a:extLst>
              <a:ext uri="{FF2B5EF4-FFF2-40B4-BE49-F238E27FC236}">
                <a16:creationId xmlns:a16="http://schemas.microsoft.com/office/drawing/2014/main" id="{4F605E83-65EF-B04F-96DA-9CED8F1DD7A0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3866442" y="2082529"/>
            <a:ext cx="396000" cy="410158"/>
          </a:xfrm>
          <a:custGeom>
            <a:avLst/>
            <a:gdLst>
              <a:gd name="connsiteX0" fmla="*/ 0 w 360000"/>
              <a:gd name="connsiteY0" fmla="*/ 184152 h 372871"/>
              <a:gd name="connsiteX1" fmla="*/ 180000 w 360000"/>
              <a:gd name="connsiteY1" fmla="*/ 4152 h 372871"/>
              <a:gd name="connsiteX2" fmla="*/ 360000 w 360000"/>
              <a:gd name="connsiteY2" fmla="*/ 184152 h 372871"/>
              <a:gd name="connsiteX3" fmla="*/ 180000 w 360000"/>
              <a:gd name="connsiteY3" fmla="*/ 364152 h 372871"/>
              <a:gd name="connsiteX4" fmla="*/ 0 w 360000"/>
              <a:gd name="connsiteY4" fmla="*/ 184152 h 372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000" h="372871">
                <a:moveTo>
                  <a:pt x="0" y="184152"/>
                </a:moveTo>
                <a:cubicBezTo>
                  <a:pt x="0" y="84741"/>
                  <a:pt x="69894" y="30889"/>
                  <a:pt x="180000" y="4152"/>
                </a:cubicBezTo>
                <a:cubicBezTo>
                  <a:pt x="290106" y="-22585"/>
                  <a:pt x="360000" y="84741"/>
                  <a:pt x="360000" y="184152"/>
                </a:cubicBezTo>
                <a:cubicBezTo>
                  <a:pt x="360000" y="283563"/>
                  <a:pt x="290106" y="406931"/>
                  <a:pt x="180000" y="364152"/>
                </a:cubicBezTo>
                <a:cubicBezTo>
                  <a:pt x="69894" y="321373"/>
                  <a:pt x="0" y="283563"/>
                  <a:pt x="0" y="18415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Clr>
                <a:schemeClr val="accent1"/>
              </a:buClr>
              <a:buFont typeface="Arial Unicode MS" panose="020B0604020202020204" pitchFamily="34" charset="-128"/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8" name="Agenda 1">
            <a:extLst>
              <a:ext uri="{FF2B5EF4-FFF2-40B4-BE49-F238E27FC236}">
                <a16:creationId xmlns:a16="http://schemas.microsoft.com/office/drawing/2014/main" id="{559C1B5B-F924-244C-9E13-C42010B42D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45096" y="2146826"/>
            <a:ext cx="5581650" cy="276999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spcAft>
                <a:spcPct val="0"/>
              </a:spcAft>
              <a:defRPr sz="20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3</a:t>
            </a:r>
          </a:p>
        </p:txBody>
      </p:sp>
      <p:sp>
        <p:nvSpPr>
          <p:cNvPr id="19" name="01">
            <a:extLst>
              <a:ext uri="{FF2B5EF4-FFF2-40B4-BE49-F238E27FC236}">
                <a16:creationId xmlns:a16="http://schemas.microsoft.com/office/drawing/2014/main" id="{8E2B09F4-F3DA-CF46-9978-FEB40C9C7062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866442" y="2846943"/>
            <a:ext cx="396000" cy="410158"/>
          </a:xfrm>
          <a:custGeom>
            <a:avLst/>
            <a:gdLst>
              <a:gd name="connsiteX0" fmla="*/ 0 w 360000"/>
              <a:gd name="connsiteY0" fmla="*/ 184152 h 372871"/>
              <a:gd name="connsiteX1" fmla="*/ 180000 w 360000"/>
              <a:gd name="connsiteY1" fmla="*/ 4152 h 372871"/>
              <a:gd name="connsiteX2" fmla="*/ 360000 w 360000"/>
              <a:gd name="connsiteY2" fmla="*/ 184152 h 372871"/>
              <a:gd name="connsiteX3" fmla="*/ 180000 w 360000"/>
              <a:gd name="connsiteY3" fmla="*/ 364152 h 372871"/>
              <a:gd name="connsiteX4" fmla="*/ 0 w 360000"/>
              <a:gd name="connsiteY4" fmla="*/ 184152 h 372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000" h="372871">
                <a:moveTo>
                  <a:pt x="0" y="184152"/>
                </a:moveTo>
                <a:cubicBezTo>
                  <a:pt x="0" y="84741"/>
                  <a:pt x="69894" y="30889"/>
                  <a:pt x="180000" y="4152"/>
                </a:cubicBezTo>
                <a:cubicBezTo>
                  <a:pt x="290106" y="-22585"/>
                  <a:pt x="360000" y="84741"/>
                  <a:pt x="360000" y="184152"/>
                </a:cubicBezTo>
                <a:cubicBezTo>
                  <a:pt x="360000" y="283563"/>
                  <a:pt x="290106" y="406931"/>
                  <a:pt x="180000" y="364152"/>
                </a:cubicBezTo>
                <a:cubicBezTo>
                  <a:pt x="69894" y="321373"/>
                  <a:pt x="0" y="283563"/>
                  <a:pt x="0" y="18415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Clr>
                <a:schemeClr val="accent1"/>
              </a:buClr>
              <a:buFont typeface="Arial Unicode MS" panose="020B0604020202020204" pitchFamily="34" charset="-128"/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0" name="Agenda 1">
            <a:extLst>
              <a:ext uri="{FF2B5EF4-FFF2-40B4-BE49-F238E27FC236}">
                <a16:creationId xmlns:a16="http://schemas.microsoft.com/office/drawing/2014/main" id="{A0A68385-5CB4-6F4C-8EFA-0C0D9E1B79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45096" y="2911240"/>
            <a:ext cx="5581650" cy="276999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spcAft>
                <a:spcPct val="0"/>
              </a:spcAft>
              <a:defRPr sz="20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4</a:t>
            </a:r>
          </a:p>
        </p:txBody>
      </p:sp>
      <p:sp>
        <p:nvSpPr>
          <p:cNvPr id="21" name="01">
            <a:extLst>
              <a:ext uri="{FF2B5EF4-FFF2-40B4-BE49-F238E27FC236}">
                <a16:creationId xmlns:a16="http://schemas.microsoft.com/office/drawing/2014/main" id="{AA84844C-A1F7-E145-95B5-896706B91DFD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3866442" y="3611357"/>
            <a:ext cx="396000" cy="410158"/>
          </a:xfrm>
          <a:custGeom>
            <a:avLst/>
            <a:gdLst>
              <a:gd name="connsiteX0" fmla="*/ 0 w 360000"/>
              <a:gd name="connsiteY0" fmla="*/ 184152 h 372871"/>
              <a:gd name="connsiteX1" fmla="*/ 180000 w 360000"/>
              <a:gd name="connsiteY1" fmla="*/ 4152 h 372871"/>
              <a:gd name="connsiteX2" fmla="*/ 360000 w 360000"/>
              <a:gd name="connsiteY2" fmla="*/ 184152 h 372871"/>
              <a:gd name="connsiteX3" fmla="*/ 180000 w 360000"/>
              <a:gd name="connsiteY3" fmla="*/ 364152 h 372871"/>
              <a:gd name="connsiteX4" fmla="*/ 0 w 360000"/>
              <a:gd name="connsiteY4" fmla="*/ 184152 h 372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000" h="372871">
                <a:moveTo>
                  <a:pt x="0" y="184152"/>
                </a:moveTo>
                <a:cubicBezTo>
                  <a:pt x="0" y="84741"/>
                  <a:pt x="69894" y="30889"/>
                  <a:pt x="180000" y="4152"/>
                </a:cubicBezTo>
                <a:cubicBezTo>
                  <a:pt x="290106" y="-22585"/>
                  <a:pt x="360000" y="84741"/>
                  <a:pt x="360000" y="184152"/>
                </a:cubicBezTo>
                <a:cubicBezTo>
                  <a:pt x="360000" y="283563"/>
                  <a:pt x="290106" y="406931"/>
                  <a:pt x="180000" y="364152"/>
                </a:cubicBezTo>
                <a:cubicBezTo>
                  <a:pt x="69894" y="321373"/>
                  <a:pt x="0" y="283563"/>
                  <a:pt x="0" y="18415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Clr>
                <a:schemeClr val="accent1"/>
              </a:buClr>
              <a:buFont typeface="Arial Unicode MS" panose="020B0604020202020204" pitchFamily="34" charset="-128"/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2" name="Agenda 1">
            <a:extLst>
              <a:ext uri="{FF2B5EF4-FFF2-40B4-BE49-F238E27FC236}">
                <a16:creationId xmlns:a16="http://schemas.microsoft.com/office/drawing/2014/main" id="{A36350AB-F8D0-7B46-99D1-0B75F21D928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5096" y="3675654"/>
            <a:ext cx="5581650" cy="276999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spcAft>
                <a:spcPct val="0"/>
              </a:spcAft>
              <a:defRPr sz="20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5</a:t>
            </a:r>
          </a:p>
        </p:txBody>
      </p:sp>
      <p:sp>
        <p:nvSpPr>
          <p:cNvPr id="23" name="01">
            <a:extLst>
              <a:ext uri="{FF2B5EF4-FFF2-40B4-BE49-F238E27FC236}">
                <a16:creationId xmlns:a16="http://schemas.microsoft.com/office/drawing/2014/main" id="{2DD3EB51-23D7-5846-9B38-928002C32551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3866442" y="4375771"/>
            <a:ext cx="396000" cy="410158"/>
          </a:xfrm>
          <a:custGeom>
            <a:avLst/>
            <a:gdLst>
              <a:gd name="connsiteX0" fmla="*/ 0 w 360000"/>
              <a:gd name="connsiteY0" fmla="*/ 184152 h 372871"/>
              <a:gd name="connsiteX1" fmla="*/ 180000 w 360000"/>
              <a:gd name="connsiteY1" fmla="*/ 4152 h 372871"/>
              <a:gd name="connsiteX2" fmla="*/ 360000 w 360000"/>
              <a:gd name="connsiteY2" fmla="*/ 184152 h 372871"/>
              <a:gd name="connsiteX3" fmla="*/ 180000 w 360000"/>
              <a:gd name="connsiteY3" fmla="*/ 364152 h 372871"/>
              <a:gd name="connsiteX4" fmla="*/ 0 w 360000"/>
              <a:gd name="connsiteY4" fmla="*/ 184152 h 372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000" h="372871">
                <a:moveTo>
                  <a:pt x="0" y="184152"/>
                </a:moveTo>
                <a:cubicBezTo>
                  <a:pt x="0" y="84741"/>
                  <a:pt x="69894" y="30889"/>
                  <a:pt x="180000" y="4152"/>
                </a:cubicBezTo>
                <a:cubicBezTo>
                  <a:pt x="290106" y="-22585"/>
                  <a:pt x="360000" y="84741"/>
                  <a:pt x="360000" y="184152"/>
                </a:cubicBezTo>
                <a:cubicBezTo>
                  <a:pt x="360000" y="283563"/>
                  <a:pt x="290106" y="406931"/>
                  <a:pt x="180000" y="364152"/>
                </a:cubicBezTo>
                <a:cubicBezTo>
                  <a:pt x="69894" y="321373"/>
                  <a:pt x="0" y="283563"/>
                  <a:pt x="0" y="18415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Clr>
                <a:schemeClr val="accent1"/>
              </a:buClr>
              <a:buFont typeface="Arial Unicode MS" panose="020B0604020202020204" pitchFamily="34" charset="-128"/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4" name="Agenda 1">
            <a:extLst>
              <a:ext uri="{FF2B5EF4-FFF2-40B4-BE49-F238E27FC236}">
                <a16:creationId xmlns:a16="http://schemas.microsoft.com/office/drawing/2014/main" id="{00B9C5EB-8FE8-2B48-8B20-30AF9B96C7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45096" y="4440068"/>
            <a:ext cx="5581650" cy="276999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spcAft>
                <a:spcPct val="0"/>
              </a:spcAft>
              <a:defRPr sz="20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6</a:t>
            </a:r>
          </a:p>
        </p:txBody>
      </p:sp>
      <p:sp>
        <p:nvSpPr>
          <p:cNvPr id="25" name="01">
            <a:extLst>
              <a:ext uri="{FF2B5EF4-FFF2-40B4-BE49-F238E27FC236}">
                <a16:creationId xmlns:a16="http://schemas.microsoft.com/office/drawing/2014/main" id="{EB01C425-A69F-3446-B781-72CFDB9113BD}"/>
              </a:ext>
            </a:extLst>
          </p:cNvPr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3876267" y="5140185"/>
            <a:ext cx="396000" cy="410158"/>
          </a:xfrm>
          <a:custGeom>
            <a:avLst/>
            <a:gdLst>
              <a:gd name="connsiteX0" fmla="*/ 0 w 360000"/>
              <a:gd name="connsiteY0" fmla="*/ 184152 h 372871"/>
              <a:gd name="connsiteX1" fmla="*/ 180000 w 360000"/>
              <a:gd name="connsiteY1" fmla="*/ 4152 h 372871"/>
              <a:gd name="connsiteX2" fmla="*/ 360000 w 360000"/>
              <a:gd name="connsiteY2" fmla="*/ 184152 h 372871"/>
              <a:gd name="connsiteX3" fmla="*/ 180000 w 360000"/>
              <a:gd name="connsiteY3" fmla="*/ 364152 h 372871"/>
              <a:gd name="connsiteX4" fmla="*/ 0 w 360000"/>
              <a:gd name="connsiteY4" fmla="*/ 184152 h 372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000" h="372871">
                <a:moveTo>
                  <a:pt x="0" y="184152"/>
                </a:moveTo>
                <a:cubicBezTo>
                  <a:pt x="0" y="84741"/>
                  <a:pt x="69894" y="30889"/>
                  <a:pt x="180000" y="4152"/>
                </a:cubicBezTo>
                <a:cubicBezTo>
                  <a:pt x="290106" y="-22585"/>
                  <a:pt x="360000" y="84741"/>
                  <a:pt x="360000" y="184152"/>
                </a:cubicBezTo>
                <a:cubicBezTo>
                  <a:pt x="360000" y="283563"/>
                  <a:pt x="290106" y="406931"/>
                  <a:pt x="180000" y="364152"/>
                </a:cubicBezTo>
                <a:cubicBezTo>
                  <a:pt x="69894" y="321373"/>
                  <a:pt x="0" y="283563"/>
                  <a:pt x="0" y="18415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Clr>
                <a:schemeClr val="accent1"/>
              </a:buClr>
              <a:buFont typeface="Arial Unicode MS" panose="020B0604020202020204" pitchFamily="34" charset="-128"/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26" name="Agenda 1">
            <a:extLst>
              <a:ext uri="{FF2B5EF4-FFF2-40B4-BE49-F238E27FC236}">
                <a16:creationId xmlns:a16="http://schemas.microsoft.com/office/drawing/2014/main" id="{34144679-175C-2C48-AAA4-69E3F983F0D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54921" y="5204482"/>
            <a:ext cx="5581650" cy="276999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spcAft>
                <a:spcPct val="0"/>
              </a:spcAft>
              <a:defRPr sz="20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7</a:t>
            </a:r>
          </a:p>
        </p:txBody>
      </p:sp>
      <p:sp>
        <p:nvSpPr>
          <p:cNvPr id="27" name="01">
            <a:extLst>
              <a:ext uri="{FF2B5EF4-FFF2-40B4-BE49-F238E27FC236}">
                <a16:creationId xmlns:a16="http://schemas.microsoft.com/office/drawing/2014/main" id="{7F24D7C0-48C1-5F4C-A135-FA59A7B01CCE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>
          <a:xfrm>
            <a:off x="3866442" y="5834961"/>
            <a:ext cx="396000" cy="410158"/>
          </a:xfrm>
          <a:custGeom>
            <a:avLst/>
            <a:gdLst>
              <a:gd name="connsiteX0" fmla="*/ 0 w 360000"/>
              <a:gd name="connsiteY0" fmla="*/ 184152 h 372871"/>
              <a:gd name="connsiteX1" fmla="*/ 180000 w 360000"/>
              <a:gd name="connsiteY1" fmla="*/ 4152 h 372871"/>
              <a:gd name="connsiteX2" fmla="*/ 360000 w 360000"/>
              <a:gd name="connsiteY2" fmla="*/ 184152 h 372871"/>
              <a:gd name="connsiteX3" fmla="*/ 180000 w 360000"/>
              <a:gd name="connsiteY3" fmla="*/ 364152 h 372871"/>
              <a:gd name="connsiteX4" fmla="*/ 0 w 360000"/>
              <a:gd name="connsiteY4" fmla="*/ 184152 h 372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000" h="372871">
                <a:moveTo>
                  <a:pt x="0" y="184152"/>
                </a:moveTo>
                <a:cubicBezTo>
                  <a:pt x="0" y="84741"/>
                  <a:pt x="69894" y="30889"/>
                  <a:pt x="180000" y="4152"/>
                </a:cubicBezTo>
                <a:cubicBezTo>
                  <a:pt x="290106" y="-22585"/>
                  <a:pt x="360000" y="84741"/>
                  <a:pt x="360000" y="184152"/>
                </a:cubicBezTo>
                <a:cubicBezTo>
                  <a:pt x="360000" y="283563"/>
                  <a:pt x="290106" y="406931"/>
                  <a:pt x="180000" y="364152"/>
                </a:cubicBezTo>
                <a:cubicBezTo>
                  <a:pt x="69894" y="321373"/>
                  <a:pt x="0" y="283563"/>
                  <a:pt x="0" y="18415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Clr>
                <a:schemeClr val="accent1"/>
              </a:buClr>
              <a:buFont typeface="Arial Unicode MS" panose="020B0604020202020204" pitchFamily="34" charset="-128"/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sp>
        <p:nvSpPr>
          <p:cNvPr id="28" name="Agenda 1">
            <a:extLst>
              <a:ext uri="{FF2B5EF4-FFF2-40B4-BE49-F238E27FC236}">
                <a16:creationId xmlns:a16="http://schemas.microsoft.com/office/drawing/2014/main" id="{34EBB330-3267-3E4B-B6F2-57392ACB4C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45096" y="5899258"/>
            <a:ext cx="5581650" cy="276999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spcAft>
                <a:spcPct val="0"/>
              </a:spcAft>
              <a:defRPr sz="20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8</a:t>
            </a:r>
          </a:p>
        </p:txBody>
      </p:sp>
    </p:spTree>
    <p:extLst>
      <p:ext uri="{BB962C8B-B14F-4D97-AF65-F5344CB8AC3E}">
        <p14:creationId xmlns:p14="http://schemas.microsoft.com/office/powerpoint/2010/main" val="1912579124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ysco Purpose Line Po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629F205-CB0B-5245-B54B-E44479A7E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55098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F732B6-779E-E549-A313-52D9BA7C13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971" y="253111"/>
            <a:ext cx="9747829" cy="1325563"/>
          </a:xfrm>
          <a:prstGeom prst="rect">
            <a:avLst/>
          </a:prstGeo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53324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6">
            <a:extLst>
              <a:ext uri="{FF2B5EF4-FFF2-40B4-BE49-F238E27FC236}">
                <a16:creationId xmlns:a16="http://schemas.microsoft.com/office/drawing/2014/main" id="{D78BED76-6AB0-1D43-8D7D-A818ABFB7B71}"/>
              </a:ext>
            </a:extLst>
          </p:cNvPr>
          <p:cNvSpPr/>
          <p:nvPr userDrawn="1"/>
        </p:nvSpPr>
        <p:spPr>
          <a:xfrm>
            <a:off x="2274362" y="351872"/>
            <a:ext cx="7643277" cy="6154257"/>
          </a:xfrm>
          <a:custGeom>
            <a:avLst/>
            <a:gdLst>
              <a:gd name="connsiteX0" fmla="*/ 642 w 8553911"/>
              <a:gd name="connsiteY0" fmla="*/ 3713786 h 7767033"/>
              <a:gd name="connsiteX1" fmla="*/ 4336993 w 8553911"/>
              <a:gd name="connsiteY1" fmla="*/ 80 h 7767033"/>
              <a:gd name="connsiteX2" fmla="*/ 8502168 w 8553911"/>
              <a:gd name="connsiteY2" fmla="*/ 4209732 h 7767033"/>
              <a:gd name="connsiteX3" fmla="*/ 4282402 w 8553911"/>
              <a:gd name="connsiteY3" fmla="*/ 7638733 h 7767033"/>
              <a:gd name="connsiteX4" fmla="*/ 642 w 8553911"/>
              <a:gd name="connsiteY4" fmla="*/ 3713786 h 7767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53911" h="7767033">
                <a:moveTo>
                  <a:pt x="642" y="3713786"/>
                </a:moveTo>
                <a:cubicBezTo>
                  <a:pt x="50684" y="428995"/>
                  <a:pt x="2311476" y="10946"/>
                  <a:pt x="4336993" y="80"/>
                </a:cubicBezTo>
                <a:cubicBezTo>
                  <a:pt x="6362510" y="-10786"/>
                  <a:pt x="8953238" y="1086144"/>
                  <a:pt x="8502168" y="4209732"/>
                </a:cubicBezTo>
                <a:cubicBezTo>
                  <a:pt x="8051098" y="7333320"/>
                  <a:pt x="5726619" y="7090865"/>
                  <a:pt x="4282402" y="7638733"/>
                </a:cubicBezTo>
                <a:cubicBezTo>
                  <a:pt x="2838185" y="8186601"/>
                  <a:pt x="-49400" y="6998577"/>
                  <a:pt x="642" y="371378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90500" dist="12700" algn="ctr" rotWithShape="0">
              <a:schemeClr val="tx2">
                <a:lumMod val="50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E67645-9DC5-5F45-962F-2FAC509B14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03880" y="251147"/>
            <a:ext cx="1277353" cy="66474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B95CEAB-2F79-9D49-93E7-33F937435D2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5915" y="682214"/>
            <a:ext cx="3857500" cy="4684105"/>
          </a:xfrm>
          <a:prstGeom prst="rect">
            <a:avLst/>
          </a:prstGeom>
        </p:spPr>
      </p:pic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34F4B5D4-5B2A-FE48-97D8-E87061C017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72815" y="2633676"/>
            <a:ext cx="5603756" cy="3169421"/>
          </a:xfrm>
        </p:spPr>
        <p:txBody>
          <a:bodyPr anchor="t">
            <a:normAutofit/>
          </a:bodyPr>
          <a:lstStyle>
            <a:lvl1pPr algn="l">
              <a:defRPr sz="5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DIVIDER HEADLINE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5DCBB357-D6AA-1E48-9874-FE58BF55178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4380" y="1427580"/>
            <a:ext cx="4351867" cy="1335382"/>
          </a:xfrm>
        </p:spPr>
        <p:txBody>
          <a:bodyPr anchor="b">
            <a:noAutofit/>
          </a:bodyPr>
          <a:lstStyle>
            <a:lvl1pPr algn="l">
              <a:defRPr sz="2000" b="0" spc="3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HEADER</a:t>
            </a:r>
          </a:p>
        </p:txBody>
      </p:sp>
      <p:sp>
        <p:nvSpPr>
          <p:cNvPr id="33" name="Slide Number Placeholder 8">
            <a:extLst>
              <a:ext uri="{FF2B5EF4-FFF2-40B4-BE49-F238E27FC236}">
                <a16:creationId xmlns:a16="http://schemas.microsoft.com/office/drawing/2014/main" id="{26FB892B-FC29-CC4C-A11F-572190BF70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53277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6">
            <a:extLst>
              <a:ext uri="{FF2B5EF4-FFF2-40B4-BE49-F238E27FC236}">
                <a16:creationId xmlns:a16="http://schemas.microsoft.com/office/drawing/2014/main" id="{BD55E6D2-C0B1-CF46-8B5C-6690A887EB68}"/>
              </a:ext>
            </a:extLst>
          </p:cNvPr>
          <p:cNvSpPr/>
          <p:nvPr userDrawn="1"/>
        </p:nvSpPr>
        <p:spPr>
          <a:xfrm>
            <a:off x="2274362" y="351872"/>
            <a:ext cx="7643277" cy="6154257"/>
          </a:xfrm>
          <a:custGeom>
            <a:avLst/>
            <a:gdLst>
              <a:gd name="connsiteX0" fmla="*/ 642 w 8553911"/>
              <a:gd name="connsiteY0" fmla="*/ 3713786 h 7767033"/>
              <a:gd name="connsiteX1" fmla="*/ 4336993 w 8553911"/>
              <a:gd name="connsiteY1" fmla="*/ 80 h 7767033"/>
              <a:gd name="connsiteX2" fmla="*/ 8502168 w 8553911"/>
              <a:gd name="connsiteY2" fmla="*/ 4209732 h 7767033"/>
              <a:gd name="connsiteX3" fmla="*/ 4282402 w 8553911"/>
              <a:gd name="connsiteY3" fmla="*/ 7638733 h 7767033"/>
              <a:gd name="connsiteX4" fmla="*/ 642 w 8553911"/>
              <a:gd name="connsiteY4" fmla="*/ 3713786 h 7767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53911" h="7767033">
                <a:moveTo>
                  <a:pt x="642" y="3713786"/>
                </a:moveTo>
                <a:cubicBezTo>
                  <a:pt x="50684" y="428995"/>
                  <a:pt x="2311476" y="10946"/>
                  <a:pt x="4336993" y="80"/>
                </a:cubicBezTo>
                <a:cubicBezTo>
                  <a:pt x="6362510" y="-10786"/>
                  <a:pt x="8953238" y="1086144"/>
                  <a:pt x="8502168" y="4209732"/>
                </a:cubicBezTo>
                <a:cubicBezTo>
                  <a:pt x="8051098" y="7333320"/>
                  <a:pt x="5726619" y="7090865"/>
                  <a:pt x="4282402" y="7638733"/>
                </a:cubicBezTo>
                <a:cubicBezTo>
                  <a:pt x="2838185" y="8186601"/>
                  <a:pt x="-49400" y="6998577"/>
                  <a:pt x="642" y="37137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190500" dist="12700" algn="ctr" rotWithShape="0">
              <a:schemeClr val="tx2">
                <a:lumMod val="50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E67645-9DC5-5F45-962F-2FAC509B14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03880" y="251147"/>
            <a:ext cx="1277353" cy="66474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E506E86-8C7C-0D42-BA9A-D8231E24D6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712" y="595116"/>
            <a:ext cx="4220678" cy="5667768"/>
          </a:xfrm>
          <a:prstGeom prst="rect">
            <a:avLst/>
          </a:prstGeom>
        </p:spPr>
      </p:pic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E6A41CD3-3AF3-D74B-A1A6-8080A40DA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4380" y="1427580"/>
            <a:ext cx="4351867" cy="1335382"/>
          </a:xfrm>
        </p:spPr>
        <p:txBody>
          <a:bodyPr anchor="b">
            <a:noAutofit/>
          </a:bodyPr>
          <a:lstStyle>
            <a:lvl1pPr algn="l">
              <a:defRPr sz="2000" b="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ER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40905D1C-0BB7-1F41-A681-4572A094C5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72815" y="2633676"/>
            <a:ext cx="5603756" cy="3169421"/>
          </a:xfrm>
        </p:spPr>
        <p:txBody>
          <a:bodyPr anchor="t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HEADLINE</a:t>
            </a:r>
          </a:p>
        </p:txBody>
      </p:sp>
      <p:sp>
        <p:nvSpPr>
          <p:cNvPr id="30" name="Slide Number Placeholder 8">
            <a:extLst>
              <a:ext uri="{FF2B5EF4-FFF2-40B4-BE49-F238E27FC236}">
                <a16:creationId xmlns:a16="http://schemas.microsoft.com/office/drawing/2014/main" id="{B2FE52D4-33F4-0B4F-9490-15C9F5E2F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180405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6">
            <a:extLst>
              <a:ext uri="{FF2B5EF4-FFF2-40B4-BE49-F238E27FC236}">
                <a16:creationId xmlns:a16="http://schemas.microsoft.com/office/drawing/2014/main" id="{0D3B914B-7B29-D846-8212-73619B630DC6}"/>
              </a:ext>
            </a:extLst>
          </p:cNvPr>
          <p:cNvSpPr/>
          <p:nvPr userDrawn="1"/>
        </p:nvSpPr>
        <p:spPr>
          <a:xfrm>
            <a:off x="2274362" y="351872"/>
            <a:ext cx="7643277" cy="6154257"/>
          </a:xfrm>
          <a:custGeom>
            <a:avLst/>
            <a:gdLst>
              <a:gd name="connsiteX0" fmla="*/ 642 w 8553911"/>
              <a:gd name="connsiteY0" fmla="*/ 3713786 h 7767033"/>
              <a:gd name="connsiteX1" fmla="*/ 4336993 w 8553911"/>
              <a:gd name="connsiteY1" fmla="*/ 80 h 7767033"/>
              <a:gd name="connsiteX2" fmla="*/ 8502168 w 8553911"/>
              <a:gd name="connsiteY2" fmla="*/ 4209732 h 7767033"/>
              <a:gd name="connsiteX3" fmla="*/ 4282402 w 8553911"/>
              <a:gd name="connsiteY3" fmla="*/ 7638733 h 7767033"/>
              <a:gd name="connsiteX4" fmla="*/ 642 w 8553911"/>
              <a:gd name="connsiteY4" fmla="*/ 3713786 h 7767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53911" h="7767033">
                <a:moveTo>
                  <a:pt x="642" y="3713786"/>
                </a:moveTo>
                <a:cubicBezTo>
                  <a:pt x="50684" y="428995"/>
                  <a:pt x="2311476" y="10946"/>
                  <a:pt x="4336993" y="80"/>
                </a:cubicBezTo>
                <a:cubicBezTo>
                  <a:pt x="6362510" y="-10786"/>
                  <a:pt x="8953238" y="1086144"/>
                  <a:pt x="8502168" y="4209732"/>
                </a:cubicBezTo>
                <a:cubicBezTo>
                  <a:pt x="8051098" y="7333320"/>
                  <a:pt x="5726619" y="7090865"/>
                  <a:pt x="4282402" y="7638733"/>
                </a:cubicBezTo>
                <a:cubicBezTo>
                  <a:pt x="2838185" y="8186601"/>
                  <a:pt x="-49400" y="6998577"/>
                  <a:pt x="642" y="371378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190500" dist="12700" algn="ctr" rotWithShape="0">
              <a:schemeClr val="tx2">
                <a:lumMod val="50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E67645-9DC5-5F45-962F-2FAC509B14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03880" y="251147"/>
            <a:ext cx="1277353" cy="664745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43435D6-78D5-634F-BDBD-6ACFF0A8A0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4380" y="1427580"/>
            <a:ext cx="4351867" cy="1335382"/>
          </a:xfrm>
        </p:spPr>
        <p:txBody>
          <a:bodyPr anchor="b">
            <a:noAutofit/>
          </a:bodyPr>
          <a:lstStyle>
            <a:lvl1pPr algn="l">
              <a:defRPr sz="2000" b="0" spc="3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E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D2344C2-388E-8842-989A-EDA77345DE9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3856" y="595116"/>
            <a:ext cx="3630914" cy="5667768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DE367E5-3DEE-3F40-8636-125A81CDE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72815" y="2633676"/>
            <a:ext cx="5603756" cy="3169421"/>
          </a:xfrm>
        </p:spPr>
        <p:txBody>
          <a:bodyPr anchor="t">
            <a:normAutofit/>
          </a:bodyPr>
          <a:lstStyle>
            <a:lvl1pPr algn="l"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DIVIDER HEADLINE</a:t>
            </a:r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id="{C2CAE98B-EFE6-3046-B373-85986E35C4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66406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8E3B7EC-670A-C648-9EDF-2995FAD78278}"/>
              </a:ext>
            </a:extLst>
          </p:cNvPr>
          <p:cNvSpPr/>
          <p:nvPr userDrawn="1"/>
        </p:nvSpPr>
        <p:spPr>
          <a:xfrm>
            <a:off x="9822873" y="0"/>
            <a:ext cx="2369127" cy="15237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9BE6EC4-EBD8-EC4A-9803-2BE12539A4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-632388" y="4555065"/>
            <a:ext cx="3880699" cy="21851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E7AAA40-AEE5-0646-830F-801614ADE8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-632388" y="2347529"/>
            <a:ext cx="3880699" cy="218516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C3BA6B1-B1D5-E944-BCF4-46F8E17FCA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-632388" y="117766"/>
            <a:ext cx="3880699" cy="218516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AD71C98-F00F-3948-878C-DA0FB0505C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9094091" y="4555065"/>
            <a:ext cx="3880699" cy="218516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32CA199-7C63-3B4F-9D63-069D3FCB9F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9094091" y="2347529"/>
            <a:ext cx="3880699" cy="218516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6685116-F388-3A42-910E-209D416B17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6662472" y="2347529"/>
            <a:ext cx="3880699" cy="218516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86F90E4-71AD-AC43-9C3D-2A0F1EB9D5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6662472" y="117766"/>
            <a:ext cx="3880699" cy="218516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C748B163-1B5B-9044-BB13-4017A5D4BE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4230852" y="4555065"/>
            <a:ext cx="3880699" cy="218516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C113AE7-D8B3-4F42-BE85-F7BDB990E2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4230852" y="2347529"/>
            <a:ext cx="3880699" cy="218516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A9E35BB-F88A-934C-AB8D-946EBF21E1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4230852" y="117766"/>
            <a:ext cx="3880699" cy="218516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9D8700C-4E4A-1948-9E4E-3B2FFEA91C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1799232" y="4555065"/>
            <a:ext cx="3880699" cy="218516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46A44904-41E5-634B-8860-D1C4A07054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1799232" y="2347529"/>
            <a:ext cx="3880699" cy="218516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EE87074-A55C-374D-9533-B5F6EC8E65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9094091" y="117766"/>
            <a:ext cx="3880699" cy="218516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B2E7441-3F58-4749-9975-670846C14E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1799232" y="117766"/>
            <a:ext cx="3880699" cy="2185169"/>
          </a:xfrm>
          <a:prstGeom prst="rect">
            <a:avLst/>
          </a:prstGeom>
        </p:spPr>
      </p:pic>
      <p:sp>
        <p:nvSpPr>
          <p:cNvPr id="31" name="Oval 6">
            <a:extLst>
              <a:ext uri="{FF2B5EF4-FFF2-40B4-BE49-F238E27FC236}">
                <a16:creationId xmlns:a16="http://schemas.microsoft.com/office/drawing/2014/main" id="{9A722B9C-1E95-0C41-B619-ADB1FB35F446}"/>
              </a:ext>
            </a:extLst>
          </p:cNvPr>
          <p:cNvSpPr/>
          <p:nvPr userDrawn="1"/>
        </p:nvSpPr>
        <p:spPr>
          <a:xfrm>
            <a:off x="2621783" y="631611"/>
            <a:ext cx="6948434" cy="5594779"/>
          </a:xfrm>
          <a:custGeom>
            <a:avLst/>
            <a:gdLst>
              <a:gd name="connsiteX0" fmla="*/ 642 w 8553911"/>
              <a:gd name="connsiteY0" fmla="*/ 3713786 h 7767033"/>
              <a:gd name="connsiteX1" fmla="*/ 4336993 w 8553911"/>
              <a:gd name="connsiteY1" fmla="*/ 80 h 7767033"/>
              <a:gd name="connsiteX2" fmla="*/ 8502168 w 8553911"/>
              <a:gd name="connsiteY2" fmla="*/ 4209732 h 7767033"/>
              <a:gd name="connsiteX3" fmla="*/ 4282402 w 8553911"/>
              <a:gd name="connsiteY3" fmla="*/ 7638733 h 7767033"/>
              <a:gd name="connsiteX4" fmla="*/ 642 w 8553911"/>
              <a:gd name="connsiteY4" fmla="*/ 3713786 h 7767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53911" h="7767033">
                <a:moveTo>
                  <a:pt x="642" y="3713786"/>
                </a:moveTo>
                <a:cubicBezTo>
                  <a:pt x="50684" y="428995"/>
                  <a:pt x="2311476" y="10946"/>
                  <a:pt x="4336993" y="80"/>
                </a:cubicBezTo>
                <a:cubicBezTo>
                  <a:pt x="6362510" y="-10786"/>
                  <a:pt x="8953238" y="1086144"/>
                  <a:pt x="8502168" y="4209732"/>
                </a:cubicBezTo>
                <a:cubicBezTo>
                  <a:pt x="8051098" y="7333320"/>
                  <a:pt x="5726619" y="7090865"/>
                  <a:pt x="4282402" y="7638733"/>
                </a:cubicBezTo>
                <a:cubicBezTo>
                  <a:pt x="2838185" y="8186601"/>
                  <a:pt x="-49400" y="6998577"/>
                  <a:pt x="642" y="371378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190500" dist="12700" algn="ctr" rotWithShape="0">
              <a:schemeClr val="tx2">
                <a:lumMod val="50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43435D6-78D5-634F-BDBD-6ACFF0A8A0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94122" y="1421741"/>
            <a:ext cx="5603756" cy="1335382"/>
          </a:xfrm>
        </p:spPr>
        <p:txBody>
          <a:bodyPr anchor="b">
            <a:noAutofit/>
          </a:bodyPr>
          <a:lstStyle>
            <a:lvl1pPr algn="ctr">
              <a:defRPr sz="2000" b="0" spc="3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HEADER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DE367E5-3DEE-3F40-8636-125A81CDE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4122" y="2586272"/>
            <a:ext cx="5603756" cy="3169421"/>
          </a:xfrm>
        </p:spPr>
        <p:txBody>
          <a:bodyPr anchor="t">
            <a:normAutofit/>
          </a:bodyPr>
          <a:lstStyle>
            <a:lvl1pPr algn="ctr">
              <a:defRPr sz="5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DIVIDER HEADLIN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94BE0F4C-9736-9648-8CE3-69FB9D9EFE0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6662472" y="4555065"/>
            <a:ext cx="3880699" cy="218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18805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2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4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4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400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400" fill="hold">
                                          <p:stCondLst>
                                            <p:cond delay="16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2" presetID="32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3" dur="2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4" dur="4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5" dur="4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6" dur="400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7" dur="400" fill="hold">
                                          <p:stCondLst>
                                            <p:cond delay="16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19" presetID="32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0" dur="2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1" dur="4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2" dur="4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3" dur="400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4" dur="400" fill="hold">
                                          <p:stCondLst>
                                            <p:cond delay="16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26" presetID="32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7" dur="2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8" dur="4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9" dur="4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0" dur="400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1" dur="400" fill="hold">
                                          <p:stCondLst>
                                            <p:cond delay="16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33" presetID="32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34" dur="2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5" dur="4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6" dur="4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7" dur="400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8" dur="400" fill="hold">
                                          <p:stCondLst>
                                            <p:cond delay="16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 nodeType="afterGroup">
                            <p:stCondLst>
                              <p:cond delay="10000"/>
                            </p:stCondLst>
                            <p:childTnLst>
                              <p:par>
                                <p:cTn id="40" presetID="32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41" dur="2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2" dur="4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43" dur="4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4" dur="400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45" dur="400" fill="hold">
                                          <p:stCondLst>
                                            <p:cond delay="16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 nodeType="afterGroup">
                            <p:stCondLst>
                              <p:cond delay="12000"/>
                            </p:stCondLst>
                            <p:childTnLst>
                              <p:par>
                                <p:cTn id="47" presetID="32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48" dur="2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9" dur="4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50" dur="4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1" dur="400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52" dur="400" fill="hold">
                                          <p:stCondLst>
                                            <p:cond delay="16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 nodeType="afterGroup">
                            <p:stCondLst>
                              <p:cond delay="14000"/>
                            </p:stCondLst>
                            <p:childTnLst>
                              <p:par>
                                <p:cTn id="54" presetID="32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55" dur="2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6" dur="4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57" dur="4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8" dur="400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59" dur="400" fill="hold">
                                          <p:stCondLst>
                                            <p:cond delay="16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90FF3A38-D430-694E-8F73-F74154505EB8}"/>
              </a:ext>
            </a:extLst>
          </p:cNvPr>
          <p:cNvSpPr/>
          <p:nvPr userDrawn="1"/>
        </p:nvSpPr>
        <p:spPr>
          <a:xfrm>
            <a:off x="9822873" y="0"/>
            <a:ext cx="2369127" cy="15237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6685116-F388-3A42-910E-209D416B17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6662472" y="2347529"/>
            <a:ext cx="3880699" cy="218516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C113AE7-D8B3-4F42-BE85-F7BDB990E2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4230852" y="2347529"/>
            <a:ext cx="3880699" cy="218516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46A44904-41E5-634B-8860-D1C4A07054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1799232" y="2347529"/>
            <a:ext cx="3880699" cy="2185169"/>
          </a:xfrm>
          <a:prstGeom prst="rect">
            <a:avLst/>
          </a:prstGeom>
        </p:spPr>
      </p:pic>
      <p:sp>
        <p:nvSpPr>
          <p:cNvPr id="31" name="Oval 6">
            <a:extLst>
              <a:ext uri="{FF2B5EF4-FFF2-40B4-BE49-F238E27FC236}">
                <a16:creationId xmlns:a16="http://schemas.microsoft.com/office/drawing/2014/main" id="{9A722B9C-1E95-0C41-B619-ADB1FB35F446}"/>
              </a:ext>
            </a:extLst>
          </p:cNvPr>
          <p:cNvSpPr/>
          <p:nvPr userDrawn="1"/>
        </p:nvSpPr>
        <p:spPr>
          <a:xfrm>
            <a:off x="2274362" y="351872"/>
            <a:ext cx="7643277" cy="6154257"/>
          </a:xfrm>
          <a:custGeom>
            <a:avLst/>
            <a:gdLst>
              <a:gd name="connsiteX0" fmla="*/ 642 w 8553911"/>
              <a:gd name="connsiteY0" fmla="*/ 3713786 h 7767033"/>
              <a:gd name="connsiteX1" fmla="*/ 4336993 w 8553911"/>
              <a:gd name="connsiteY1" fmla="*/ 80 h 7767033"/>
              <a:gd name="connsiteX2" fmla="*/ 8502168 w 8553911"/>
              <a:gd name="connsiteY2" fmla="*/ 4209732 h 7767033"/>
              <a:gd name="connsiteX3" fmla="*/ 4282402 w 8553911"/>
              <a:gd name="connsiteY3" fmla="*/ 7638733 h 7767033"/>
              <a:gd name="connsiteX4" fmla="*/ 642 w 8553911"/>
              <a:gd name="connsiteY4" fmla="*/ 3713786 h 7767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53911" h="7767033">
                <a:moveTo>
                  <a:pt x="642" y="3713786"/>
                </a:moveTo>
                <a:cubicBezTo>
                  <a:pt x="50684" y="428995"/>
                  <a:pt x="2311476" y="10946"/>
                  <a:pt x="4336993" y="80"/>
                </a:cubicBezTo>
                <a:cubicBezTo>
                  <a:pt x="6362510" y="-10786"/>
                  <a:pt x="8953238" y="1086144"/>
                  <a:pt x="8502168" y="4209732"/>
                </a:cubicBezTo>
                <a:cubicBezTo>
                  <a:pt x="8051098" y="7333320"/>
                  <a:pt x="5726619" y="7090865"/>
                  <a:pt x="4282402" y="7638733"/>
                </a:cubicBezTo>
                <a:cubicBezTo>
                  <a:pt x="2838185" y="8186601"/>
                  <a:pt x="-49400" y="6998577"/>
                  <a:pt x="642" y="371378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190500" dist="12700" algn="ctr" rotWithShape="0">
              <a:schemeClr val="bg1">
                <a:lumMod val="90000"/>
                <a:lumOff val="10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43435D6-78D5-634F-BDBD-6ACFF0A8A0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94122" y="1421741"/>
            <a:ext cx="5603756" cy="1335382"/>
          </a:xfrm>
        </p:spPr>
        <p:txBody>
          <a:bodyPr anchor="b">
            <a:noAutofit/>
          </a:bodyPr>
          <a:lstStyle>
            <a:lvl1pPr algn="ctr">
              <a:defRPr sz="2000" b="0" spc="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ER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DE367E5-3DEE-3F40-8636-125A81CDE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4122" y="2586272"/>
            <a:ext cx="5603756" cy="3169421"/>
          </a:xfrm>
        </p:spPr>
        <p:txBody>
          <a:bodyPr anchor="t">
            <a:normAutofit/>
          </a:bodyPr>
          <a:lstStyle>
            <a:lvl1pPr algn="ctr"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HEADLIN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9159B10-E009-754C-913E-8FC8EA962EB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24050" y="366081"/>
            <a:ext cx="1253449" cy="486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04549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E1855FE-2C3E-FE4C-AD62-2C05043ED757}"/>
              </a:ext>
            </a:extLst>
          </p:cNvPr>
          <p:cNvSpPr/>
          <p:nvPr userDrawn="1"/>
        </p:nvSpPr>
        <p:spPr>
          <a:xfrm>
            <a:off x="9822873" y="0"/>
            <a:ext cx="2369127" cy="152373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6685116-F388-3A42-910E-209D416B17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6662472" y="2347529"/>
            <a:ext cx="3880699" cy="218516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C113AE7-D8B3-4F42-BE85-F7BDB990E2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4230852" y="2347529"/>
            <a:ext cx="3880699" cy="218516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46A44904-41E5-634B-8860-D1C4A07054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800000">
            <a:off x="1799232" y="2347529"/>
            <a:ext cx="3880699" cy="2185169"/>
          </a:xfrm>
          <a:prstGeom prst="rect">
            <a:avLst/>
          </a:prstGeom>
        </p:spPr>
      </p:pic>
      <p:sp>
        <p:nvSpPr>
          <p:cNvPr id="31" name="Oval 6">
            <a:extLst>
              <a:ext uri="{FF2B5EF4-FFF2-40B4-BE49-F238E27FC236}">
                <a16:creationId xmlns:a16="http://schemas.microsoft.com/office/drawing/2014/main" id="{9A722B9C-1E95-0C41-B619-ADB1FB35F446}"/>
              </a:ext>
            </a:extLst>
          </p:cNvPr>
          <p:cNvSpPr/>
          <p:nvPr userDrawn="1"/>
        </p:nvSpPr>
        <p:spPr>
          <a:xfrm>
            <a:off x="2274362" y="351872"/>
            <a:ext cx="7643277" cy="6154257"/>
          </a:xfrm>
          <a:custGeom>
            <a:avLst/>
            <a:gdLst>
              <a:gd name="connsiteX0" fmla="*/ 642 w 8553911"/>
              <a:gd name="connsiteY0" fmla="*/ 3713786 h 7767033"/>
              <a:gd name="connsiteX1" fmla="*/ 4336993 w 8553911"/>
              <a:gd name="connsiteY1" fmla="*/ 80 h 7767033"/>
              <a:gd name="connsiteX2" fmla="*/ 8502168 w 8553911"/>
              <a:gd name="connsiteY2" fmla="*/ 4209732 h 7767033"/>
              <a:gd name="connsiteX3" fmla="*/ 4282402 w 8553911"/>
              <a:gd name="connsiteY3" fmla="*/ 7638733 h 7767033"/>
              <a:gd name="connsiteX4" fmla="*/ 642 w 8553911"/>
              <a:gd name="connsiteY4" fmla="*/ 3713786 h 7767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53911" h="7767033">
                <a:moveTo>
                  <a:pt x="642" y="3713786"/>
                </a:moveTo>
                <a:cubicBezTo>
                  <a:pt x="50684" y="428995"/>
                  <a:pt x="2311476" y="10946"/>
                  <a:pt x="4336993" y="80"/>
                </a:cubicBezTo>
                <a:cubicBezTo>
                  <a:pt x="6362510" y="-10786"/>
                  <a:pt x="8953238" y="1086144"/>
                  <a:pt x="8502168" y="4209732"/>
                </a:cubicBezTo>
                <a:cubicBezTo>
                  <a:pt x="8051098" y="7333320"/>
                  <a:pt x="5726619" y="7090865"/>
                  <a:pt x="4282402" y="7638733"/>
                </a:cubicBezTo>
                <a:cubicBezTo>
                  <a:pt x="2838185" y="8186601"/>
                  <a:pt x="-49400" y="6998577"/>
                  <a:pt x="642" y="371378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190500" dist="12700" algn="ctr" rotWithShape="0">
              <a:schemeClr val="accent4">
                <a:lumMod val="50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43435D6-78D5-634F-BDBD-6ACFF0A8A0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94122" y="1421741"/>
            <a:ext cx="5603756" cy="1335382"/>
          </a:xfrm>
        </p:spPr>
        <p:txBody>
          <a:bodyPr anchor="b">
            <a:noAutofit/>
          </a:bodyPr>
          <a:lstStyle>
            <a:lvl1pPr algn="ctr">
              <a:defRPr sz="2000" b="0" spc="3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HEADER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DE367E5-3DEE-3F40-8636-125A81CDE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4122" y="2586272"/>
            <a:ext cx="5603756" cy="3169421"/>
          </a:xfrm>
        </p:spPr>
        <p:txBody>
          <a:bodyPr anchor="t">
            <a:normAutofit/>
          </a:bodyPr>
          <a:lstStyle>
            <a:lvl1pPr algn="ctr">
              <a:defRPr sz="5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IVIDER HEADLIN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F7F3DD-E513-0F44-AF08-5354F0E328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24050" y="366081"/>
            <a:ext cx="1253449" cy="486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94597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B2E649-C396-4FF2-B87D-38CEE87252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245703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1" name="think-cell Slide" r:id="rId35" imgW="0" imgH="0" progId="TCLayout.ActiveDocument.1">
                  <p:embed/>
                </p:oleObj>
              </mc:Choice>
              <mc:Fallback>
                <p:oleObj name="think-cell Slide" r:id="rId35" imgW="0" imgH="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B2E649-C396-4FF2-B87D-38CEE87252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85D1DB2-046E-7E41-9744-D4DBD9322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971" y="253111"/>
            <a:ext cx="9912929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17B56B-1AE5-C14F-A11F-0702FB723E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5971" y="1825625"/>
            <a:ext cx="11528329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/>
              <a:t>HEADLINE COPY</a:t>
            </a:r>
          </a:p>
          <a:p>
            <a:pPr lvl="1"/>
            <a:r>
              <a:rPr lang="en-US" err="1"/>
              <a:t>Subheader</a:t>
            </a:r>
            <a:endParaRPr lang="en-US"/>
          </a:p>
          <a:p>
            <a:pPr lvl="2"/>
            <a:r>
              <a:rPr lang="en-US"/>
              <a:t>Copy</a:t>
            </a:r>
          </a:p>
          <a:p>
            <a:pPr lvl="3"/>
            <a:r>
              <a:rPr lang="en-US"/>
              <a:t>Cop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D7DC10B-7407-FA46-92F3-EBB0DAC79A4D}"/>
              </a:ext>
            </a:extLst>
          </p:cNvPr>
          <p:cNvPicPr>
            <a:picLocks noChangeAspect="1"/>
          </p:cNvPicPr>
          <p:nvPr userDrawn="1"/>
        </p:nvPicPr>
        <p:blipFill>
          <a:blip r:embed="rId37"/>
          <a:stretch>
            <a:fillRect/>
          </a:stretch>
        </p:blipFill>
        <p:spPr>
          <a:xfrm>
            <a:off x="10603880" y="251147"/>
            <a:ext cx="1277353" cy="664745"/>
          </a:xfrm>
          <a:prstGeom prst="rect">
            <a:avLst/>
          </a:prstGeom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E1D4AB0-6EA2-9248-A1C8-EE5C6A1C75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48900" y="6356350"/>
            <a:ext cx="1680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2">
                    <a:lumMod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2635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87" r:id="rId29"/>
    <p:sldLayoutId id="2147483788" r:id="rId30"/>
    <p:sldLayoutId id="2147483789" r:id="rId31"/>
  </p:sldLayoutIdLst>
  <p:transition/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None/>
        <a:defRPr sz="4000" b="1" kern="1200">
          <a:solidFill>
            <a:schemeClr val="bg1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bg1"/>
          </a:solidFill>
          <a:latin typeface="Myriad Pro" panose="020B0503030403020204" pitchFamily="34" charset="0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chemeClr val="bg1"/>
          </a:solidFill>
          <a:latin typeface="Myriad Pro" panose="020B0503030403020204" pitchFamily="34" charset="0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bg1"/>
          </a:solidFill>
          <a:latin typeface="Myriad Pro" panose="020B0503030403020204" pitchFamily="34" charset="0"/>
          <a:ea typeface="+mn-ea"/>
          <a:cs typeface="+mn-cs"/>
        </a:defRPr>
      </a:lvl3pPr>
      <a:lvl4pPr marL="1371600" marR="0" indent="0" algn="l" defTabSz="914400" rtl="0" eaLnBrk="1" fontAlgn="auto" latinLnBrk="0" hangingPunct="1">
        <a:lnSpc>
          <a:spcPct val="100000"/>
        </a:lnSpc>
        <a:spcBef>
          <a:spcPct val="0"/>
        </a:spcBef>
        <a:spcAft>
          <a:spcPts val="600"/>
        </a:spcAft>
        <a:buClrTx/>
        <a:buSzTx/>
        <a:buFont typeface="Arial" panose="020B0604020202020204" pitchFamily="34" charset="0"/>
        <a:buNone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bg1"/>
          </a:solidFill>
          <a:latin typeface="Myriad Pro" panose="020B05030304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440">
          <p15:clr>
            <a:srgbClr val="F26B43"/>
          </p15:clr>
        </p15:guide>
        <p15:guide id="4" pos="264">
          <p15:clr>
            <a:srgbClr val="F26B43"/>
          </p15:clr>
        </p15:guide>
        <p15:guide id="5" pos="960">
          <p15:clr>
            <a:srgbClr val="F26B43"/>
          </p15:clr>
        </p15:guide>
        <p15:guide id="6" pos="1536">
          <p15:clr>
            <a:srgbClr val="F26B43"/>
          </p15:clr>
        </p15:guide>
        <p15:guide id="7" pos="2112">
          <p15:clr>
            <a:srgbClr val="F26B43"/>
          </p15:clr>
        </p15:guide>
        <p15:guide id="8" pos="2688">
          <p15:clr>
            <a:srgbClr val="F26B43"/>
          </p15:clr>
        </p15:guide>
        <p15:guide id="9" pos="3264">
          <p15:clr>
            <a:srgbClr val="F26B43"/>
          </p15:clr>
        </p15:guide>
        <p15:guide id="10" pos="4416">
          <p15:clr>
            <a:srgbClr val="F26B43"/>
          </p15:clr>
        </p15:guide>
        <p15:guide id="11" pos="4992">
          <p15:clr>
            <a:srgbClr val="F26B43"/>
          </p15:clr>
        </p15:guide>
        <p15:guide id="12" pos="5568">
          <p15:clr>
            <a:srgbClr val="F26B43"/>
          </p15:clr>
        </p15:guide>
        <p15:guide id="13" pos="6144">
          <p15:clr>
            <a:srgbClr val="F26B43"/>
          </p15:clr>
        </p15:guide>
        <p15:guide id="14" pos="67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862F045D-4F74-42D8-BD12-5789B90C2C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pPr/>
              <a:t>1</a:t>
            </a:fld>
            <a:endParaRPr lang="en-US"/>
          </a:p>
        </p:txBody>
      </p:sp>
      <p:pic>
        <p:nvPicPr>
          <p:cNvPr id="16" name="Espace réservé pour une image  15">
            <a:extLst>
              <a:ext uri="{FF2B5EF4-FFF2-40B4-BE49-F238E27FC236}">
                <a16:creationId xmlns:a16="http://schemas.microsoft.com/office/drawing/2014/main" id="{04C9AF77-65E7-4CDD-987F-CD807C92AE5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258A13-EE51-4201-8CA6-8D63FF26B6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49F4242F-E30B-4FFC-9857-ADD827A553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texte 1">
            <a:extLst>
              <a:ext uri="{FF2B5EF4-FFF2-40B4-BE49-F238E27FC236}">
                <a16:creationId xmlns:a16="http://schemas.microsoft.com/office/drawing/2014/main" id="{8D58009B-D8E2-4706-8E38-421F8D9AAC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80476" y="4248447"/>
            <a:ext cx="6535849" cy="307777"/>
          </a:xfr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05259282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5726218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4EF18D49-88E9-467B-930F-F13536FB9E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F7512F6-120C-4F65-B19B-C571E8DD68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34CF230B-A60A-467F-AC6F-EB4682450C4D}"/>
              </a:ext>
            </a:extLst>
          </p:cNvPr>
          <p:cNvSpPr>
            <a:spLocks noGrp="1"/>
          </p:cNvSpPr>
          <p:nvPr>
            <p:ph type="pic" sz="half" idx="13"/>
          </p:nvPr>
        </p:nvSpPr>
        <p:spPr/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7E6B20D6-22BC-49A3-BCD2-8C3212C438D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C9A45C7-1E75-4C81-AF89-2EDE8A76358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7CFB204-3D19-4F24-B8B8-99BC54539B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355888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501A7B6-A9AE-4735-9F1F-DCD45B232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3884308-7484-48FE-9B8C-3FA3CF9B54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F02D9B5-CD18-4F62-87B8-5C3835447C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ADDA336-6B73-4F19-84D4-A5925E87DF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91D87106-DD10-493D-91B9-0BA2F0C0D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7EB9031B-7F34-4446-BA6B-B561D9B3FE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1E247BC-C590-4C10-BEE2-0CBC3F5A38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4948577-D98F-4E87-AF9E-AFFDA767643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20D7CF3-E7AD-47BD-8EA5-66EE0F5EE6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F067955-6EDE-4355-A01D-56EA4E412AB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C4C2D7EF-D2FA-4790-8F54-D1DB3CAD91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F1A670CB-DE85-4593-A4AF-6376960725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043497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9C5B6F-39A3-40C8-BB72-B32FB3B024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82AF141-3515-6B43-B29D-C3CB43CA3F9D}" type="slidenum">
              <a:rPr lang="en-US" altLang="en-US" smtClean="0"/>
              <a:t>13</a:t>
            </a:fld>
            <a:endParaRPr lang="en-US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DC545D-B6F0-4524-B0DC-3F9F4537D8A4}"/>
              </a:ext>
            </a:extLst>
          </p:cNvPr>
          <p:cNvSpPr txBox="1"/>
          <p:nvPr/>
        </p:nvSpPr>
        <p:spPr>
          <a:xfrm>
            <a:off x="208809" y="1791149"/>
            <a:ext cx="11774381" cy="21254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2800" b="0" i="0" strike="noStrike" cap="none" spc="600" baseline="0">
                <a:solidFill>
                  <a:srgbClr val="1A320D"/>
                </a:solidFill>
                <a:effectLst/>
                <a:latin typeface="Myriad Pro"/>
                <a:ea typeface="Myriad Pro"/>
                <a:cs typeface="Myriad Pro"/>
              </a:rPr>
              <a:t>NOTRE OBJECTIF</a:t>
            </a:r>
          </a:p>
          <a:p>
            <a:pPr algn="ctr"/>
            <a:endParaRPr lang="en-US" sz="1600" b="0">
              <a:latin typeface="Bobby Jones Soft Regular" pitchFamily="50" charset="0"/>
            </a:endParaRPr>
          </a:p>
          <a:p>
            <a:pPr algn="ctr"/>
            <a:r>
              <a:rPr lang="fr-FR" sz="4800" b="0">
                <a:solidFill>
                  <a:srgbClr val="F97821"/>
                </a:solidFill>
                <a:latin typeface="Bobby Jones Soft Regular" pitchFamily="50" charset="0"/>
              </a:rPr>
              <a:t>Relier</a:t>
            </a:r>
            <a:r>
              <a:rPr lang="fr-FR" sz="4800" b="0">
                <a:solidFill>
                  <a:srgbClr val="FEC255"/>
                </a:solidFill>
                <a:latin typeface="Bobby Jones Soft Regular" pitchFamily="50" charset="0"/>
              </a:rPr>
              <a:t> </a:t>
            </a:r>
            <a:r>
              <a:rPr lang="fr-FR" sz="4800" b="0">
                <a:solidFill>
                  <a:srgbClr val="FEC9A5"/>
                </a:solidFill>
                <a:latin typeface="Bobby Jones Soft Regular" pitchFamily="50" charset="0"/>
              </a:rPr>
              <a:t>le</a:t>
            </a:r>
            <a:r>
              <a:rPr lang="fr-FR" sz="4800" b="0">
                <a:solidFill>
                  <a:srgbClr val="FEC255"/>
                </a:solidFill>
                <a:latin typeface="Bobby Jones Soft Regular" pitchFamily="50" charset="0"/>
              </a:rPr>
              <a:t> </a:t>
            </a:r>
            <a:r>
              <a:rPr lang="fr-FR" sz="4800" b="0">
                <a:solidFill>
                  <a:srgbClr val="1265E5"/>
                </a:solidFill>
                <a:latin typeface="Bobby Jones Soft Regular" pitchFamily="50" charset="0"/>
              </a:rPr>
              <a:t>monde</a:t>
            </a:r>
            <a:r>
              <a:rPr lang="fr-FR" sz="4800" b="0">
                <a:solidFill>
                  <a:srgbClr val="FEC255"/>
                </a:solidFill>
                <a:latin typeface="Bobby Jones Soft Regular" pitchFamily="50" charset="0"/>
              </a:rPr>
              <a:t> </a:t>
            </a:r>
            <a:r>
              <a:rPr lang="fr-FR" sz="4800" b="0">
                <a:solidFill>
                  <a:srgbClr val="8FC8C6"/>
                </a:solidFill>
                <a:latin typeface="Bobby Jones Soft Regular" pitchFamily="50" charset="0"/>
              </a:rPr>
              <a:t>en distribuant </a:t>
            </a:r>
            <a:r>
              <a:rPr lang="fr-FR" sz="4800" b="0">
                <a:solidFill>
                  <a:srgbClr val="6AB244"/>
                </a:solidFill>
                <a:latin typeface="Bobby Jones Soft Regular" pitchFamily="50" charset="0"/>
              </a:rPr>
              <a:t>des produits </a:t>
            </a:r>
            <a:r>
              <a:rPr lang="fr-FR" sz="4800" b="0">
                <a:solidFill>
                  <a:srgbClr val="421C5E"/>
                </a:solidFill>
                <a:latin typeface="Bobby Jones Soft Regular" pitchFamily="50" charset="0"/>
              </a:rPr>
              <a:t>alimentaires</a:t>
            </a:r>
            <a:r>
              <a:rPr lang="fr-FR" sz="4800" b="0">
                <a:solidFill>
                  <a:srgbClr val="FEC255"/>
                </a:solidFill>
                <a:latin typeface="Bobby Jones Soft Regular" pitchFamily="50" charset="0"/>
              </a:rPr>
              <a:t> </a:t>
            </a:r>
            <a:r>
              <a:rPr lang="fr-FR" sz="4800" b="0">
                <a:solidFill>
                  <a:srgbClr val="B2E62E"/>
                </a:solidFill>
                <a:latin typeface="Bobby Jones Soft Regular" pitchFamily="50" charset="0"/>
              </a:rPr>
              <a:t>et</a:t>
            </a:r>
            <a:r>
              <a:rPr lang="fr-FR" sz="4800" b="0">
                <a:solidFill>
                  <a:srgbClr val="FEC255"/>
                </a:solidFill>
                <a:latin typeface="Bobby Jones Soft Regular" pitchFamily="50" charset="0"/>
              </a:rPr>
              <a:t> </a:t>
            </a:r>
            <a:r>
              <a:rPr lang="fr-FR" sz="4800" b="0">
                <a:solidFill>
                  <a:srgbClr val="FDC9A5"/>
                </a:solidFill>
                <a:latin typeface="Bobby Jones Soft Regular" pitchFamily="50" charset="0"/>
              </a:rPr>
              <a:t>en prenant soin </a:t>
            </a:r>
            <a:r>
              <a:rPr lang="fr-FR" sz="4800" b="0">
                <a:solidFill>
                  <a:srgbClr val="421C5E"/>
                </a:solidFill>
                <a:latin typeface="Bobby Jones Soft Regular" pitchFamily="50" charset="0"/>
              </a:rPr>
              <a:t>les </a:t>
            </a:r>
            <a:br>
              <a:rPr lang="fr-FR" sz="4800" b="0">
                <a:solidFill>
                  <a:srgbClr val="421C5E"/>
                </a:solidFill>
                <a:latin typeface="Bobby Jones Soft Regular" pitchFamily="50" charset="0"/>
              </a:rPr>
            </a:br>
            <a:r>
              <a:rPr lang="fr-FR" sz="4800" b="0">
                <a:solidFill>
                  <a:srgbClr val="F97821"/>
                </a:solidFill>
                <a:latin typeface="Bobby Jones Soft Regular" pitchFamily="50" charset="0"/>
              </a:rPr>
              <a:t>uns</a:t>
            </a:r>
            <a:r>
              <a:rPr lang="fr-FR" sz="4800" b="0">
                <a:solidFill>
                  <a:srgbClr val="FEC255"/>
                </a:solidFill>
                <a:latin typeface="Bobby Jones Soft Regular" pitchFamily="50" charset="0"/>
              </a:rPr>
              <a:t> des autres</a:t>
            </a:r>
            <a:endParaRPr lang="en-US" sz="4800" b="0">
              <a:solidFill>
                <a:srgbClr val="FEC255"/>
              </a:solidFill>
              <a:latin typeface="Bobby Jones Soft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9593226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A16DD08-FA09-43DE-9E0A-DC7209F77D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718372">
            <a:off x="2762313" y="1181521"/>
            <a:ext cx="1185552" cy="185061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BECFBD-8CAC-4DDE-9A39-B0A9466869D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82AF141-3515-6B43-B29D-C3CB43CA3F9D}" type="slidenum">
              <a:rPr lang="en-US" altLang="en-US" smtClean="0"/>
              <a:t>14</a:t>
            </a:fld>
            <a:endParaRPr lang="en-US" alt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62E36D-C5D6-4752-AADF-B00E3FB35F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0365588">
            <a:off x="1882182" y="1722855"/>
            <a:ext cx="1185552" cy="185061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74A011-017F-4D4A-A407-77F161E962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1085" y="2354400"/>
            <a:ext cx="4129830" cy="21491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5392A7B-99F7-4915-9411-8B923B0E15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0365588">
            <a:off x="2980656" y="2550498"/>
            <a:ext cx="748866" cy="116895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F54ACC-B31C-4A00-AEC8-D6E7D64F42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268184">
            <a:off x="8524257" y="2673221"/>
            <a:ext cx="1262618" cy="197091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EDFB784-A83C-4284-883A-2339208CC0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0798260">
            <a:off x="8200486" y="3919120"/>
            <a:ext cx="748866" cy="1168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857678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3A1BDAFF-D468-448B-84AD-ABA0F7EA64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8650711-5568-4DD3-B9BB-33FE8285E2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92F7118-8B1D-4483-B02D-8490C6521C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74807432-9E8A-461F-961D-3406AAAD8A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</p:spTree>
    <p:extLst>
      <p:ext uri="{BB962C8B-B14F-4D97-AF65-F5344CB8AC3E}">
        <p14:creationId xmlns:p14="http://schemas.microsoft.com/office/powerpoint/2010/main" val="371208271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pour une image  1">
            <a:extLst>
              <a:ext uri="{FF2B5EF4-FFF2-40B4-BE49-F238E27FC236}">
                <a16:creationId xmlns:a16="http://schemas.microsoft.com/office/drawing/2014/main" id="{034EE098-3DC9-4596-B37B-23BFE0C35312}"/>
              </a:ext>
            </a:extLst>
          </p:cNvPr>
          <p:cNvSpPr>
            <a:spLocks noGrp="1"/>
          </p:cNvSpPr>
          <p:nvPr>
            <p:ph type="pic" idx="13"/>
          </p:nvPr>
        </p:nvSpPr>
        <p:spPr/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662A824-BF74-40D7-86C5-98296DFB00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029FF9D-98E7-4C1E-95B8-EC6481860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4DC3A6F5-43D4-4901-A3C4-797BB9E5B8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C137A16-01E4-4DF4-8CC5-C87F8242BC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69937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E515E85D-BB29-4FFF-907A-CA6305C9AA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4</a:t>
            </a:fld>
            <a:endParaRPr lang="en-US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32C7715-A48F-432A-912E-C5F3FF1C0C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BF67EF6-FA32-4334-B32F-69BFF267D7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1887EB7-F03F-4589-B5A6-4B38E1BEC39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43A27E51-D2D7-4DDF-A3F5-F070DCDA36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B270581-5F02-4A58-BE58-6E71A95DA4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285EADE2-6F1E-4E03-BDFE-E611FFD5E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BC31E20E-3E39-45F4-A373-229920929A2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6B12AF3-12E4-4426-9EF7-DF643227093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69661593-FCEC-4877-BEC5-0F2CEB3917E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11D054F7-7103-4D47-AF70-2F8280BFDE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B0D4ACDB-0F19-43EA-A480-441BF134F0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3D191E0B-913C-4F94-A66F-1A31CF251AD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C3021E8C-C63A-4C8E-BE41-4760B660EE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68831E6C-F33D-4EBF-9ABD-9C63693B6F9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1BA50B91-63CF-4613-B862-D7E8B543222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0EB9E0FA-3ACF-46A2-9833-A9C986376F1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9784DC8D-07C5-4ECB-B08B-C6F2FEA3DF5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772631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10DC61F4-ABE5-4BD1-8160-3794072F413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82AF141-3515-6B43-B29D-C3CB43CA3F9D}" type="slidenum">
              <a:rPr lang="en-US" altLang="en-US" smtClean="0"/>
              <a:t>5</a:t>
            </a:fld>
            <a:endParaRPr lang="en-US" altLang="en-US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4BD8303-77D7-4248-9BDD-ECB49B3313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725D367-C18B-476A-871D-8715C07D1F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E07C847-5A5D-4812-A997-51E7987D69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238700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5721EFF8-CECB-4902-8AFB-D19C5AF36C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2658D77-2BE4-4EBE-87E0-085FAF9BAE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487F1E8-C0ED-4032-AD5B-C9A529A8BC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695435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52E02967-45B1-4A55-BA87-C072BA1726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34BA5F3-A10D-4D70-973F-C664B8A9AF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59D024E-3E7D-4B53-A83C-0CDCA537B5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196057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30B3791-375F-4CAD-85BC-394A5D97C8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0687E96-444B-4DD2-96EA-2D92451A26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522523F-EF84-4E87-8EC4-0957BEC0C1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© Sysco 2021  |  </a:t>
            </a:r>
            <a:fld id="{9F9D41EE-D4DD-3A44-AD6F-DC82B590867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796720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4E7C41F6-4B06-49AB-8085-83E6494A229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D139461-583F-42D5-BA5F-254FE6A3BF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312041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OS" val="Unix 3.10 unknown"/>
  <p:tag name="AS_RELEASE_DATE" val="2019.04.30"/>
  <p:tag name="AS_TITLE" val="Aspose.Slides for Java"/>
  <p:tag name="AS_VERSION" val="19.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Sysco Purpose 2">
      <a:dk1>
        <a:srgbClr val="1A320D"/>
      </a:dk1>
      <a:lt1>
        <a:srgbClr val="6AB244"/>
      </a:lt1>
      <a:dk2>
        <a:srgbClr val="FEFFFF"/>
      </a:dk2>
      <a:lt2>
        <a:srgbClr val="F8F4E8"/>
      </a:lt2>
      <a:accent1>
        <a:srgbClr val="B2E62E"/>
      </a:accent1>
      <a:accent2>
        <a:srgbClr val="FDB4C1"/>
      </a:accent2>
      <a:accent3>
        <a:srgbClr val="F55E3F"/>
      </a:accent3>
      <a:accent4>
        <a:srgbClr val="0D65EA"/>
      </a:accent4>
      <a:accent5>
        <a:srgbClr val="8FC8C6"/>
      </a:accent5>
      <a:accent6>
        <a:srgbClr val="FEC055"/>
      </a:accent6>
      <a:hlink>
        <a:srgbClr val="FCC8A5"/>
      </a:hlink>
      <a:folHlink>
        <a:srgbClr val="1E1B45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ysco Purposer Powerpoint Template" id="{05165614-F5AE-BD41-9382-5FA310206063}" vid="{E9D2A507-93CF-DD46-908F-98F00F45C5D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B9BBF8AC25824BB2A6C04046AB6616" ma:contentTypeVersion="12" ma:contentTypeDescription="Create a new document." ma:contentTypeScope="" ma:versionID="88aa3152f154d32cb01bbcb5b693deb8">
  <xsd:schema xmlns:xsd="http://www.w3.org/2001/XMLSchema" xmlns:xs="http://www.w3.org/2001/XMLSchema" xmlns:p="http://schemas.microsoft.com/office/2006/metadata/properties" xmlns:ns2="f917712b-7529-4fd7-afdb-af31b3b055de" xmlns:ns3="d68b5f9e-809f-4fea-81ae-fd87c2631362" targetNamespace="http://schemas.microsoft.com/office/2006/metadata/properties" ma:root="true" ma:fieldsID="267775baaa60394aeaecb1d3f023f709" ns2:_="" ns3:_="">
    <xsd:import namespace="f917712b-7529-4fd7-afdb-af31b3b055de"/>
    <xsd:import namespace="d68b5f9e-809f-4fea-81ae-fd87c26313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17712b-7529-4fd7-afdb-af31b3b055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8b5f9e-809f-4fea-81ae-fd87c263136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09B467F-86B8-4F88-9F55-4F5CEA90F373}">
  <ds:schemaRefs>
    <ds:schemaRef ds:uri="3b670371-3cae-484b-acc5-e3edbad9c8d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1D16402-B45F-42A7-9063-4FAB0553BD0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2AD0280-7610-44D0-95B8-DA9AB228F0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17712b-7529-4fd7-afdb-af31b3b055de"/>
    <ds:schemaRef ds:uri="d68b5f9e-809f-4fea-81ae-fd87c263136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2</Words>
  <Application>Microsoft Office PowerPoint</Application>
  <PresentationFormat>Grand écran</PresentationFormat>
  <Paragraphs>16</Paragraphs>
  <Slides>14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22" baseType="lpstr">
      <vt:lpstr>Arial</vt:lpstr>
      <vt:lpstr>Arial Unicode MS</vt:lpstr>
      <vt:lpstr>Bobby Jones Soft Regular</vt:lpstr>
      <vt:lpstr>Calibri</vt:lpstr>
      <vt:lpstr>Helvetica Neue Light</vt:lpstr>
      <vt:lpstr>Myriad Pro</vt:lpstr>
      <vt:lpstr>3_Office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ams, Amber</dc:creator>
  <cp:lastModifiedBy>Andrieu Casado, Jerome 513</cp:lastModifiedBy>
  <cp:revision>5</cp:revision>
  <dcterms:created xsi:type="dcterms:W3CDTF">2021-04-13T17:56:01Z</dcterms:created>
  <dcterms:modified xsi:type="dcterms:W3CDTF">2022-01-25T08:4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B9BBF8AC25824BB2A6C04046AB6616</vt:lpwstr>
  </property>
</Properties>
</file>